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4"/>
  </p:notesMasterIdLst>
  <p:sldIdLst>
    <p:sldId id="2134960094" r:id="rId5"/>
    <p:sldId id="2146845349" r:id="rId6"/>
    <p:sldId id="2146845353" r:id="rId7"/>
    <p:sldId id="2146845403" r:id="rId8"/>
    <p:sldId id="2146845404" r:id="rId9"/>
    <p:sldId id="2146845348" r:id="rId10"/>
    <p:sldId id="2146845347" r:id="rId11"/>
    <p:sldId id="2146845385" r:id="rId12"/>
    <p:sldId id="2146845400" r:id="rId13"/>
    <p:sldId id="2146845399" r:id="rId14"/>
    <p:sldId id="2146845401" r:id="rId15"/>
    <p:sldId id="2146845391" r:id="rId16"/>
    <p:sldId id="2146845402" r:id="rId17"/>
    <p:sldId id="2146845360" r:id="rId18"/>
    <p:sldId id="2146845382" r:id="rId19"/>
    <p:sldId id="2146845383" r:id="rId20"/>
    <p:sldId id="2146845365" r:id="rId21"/>
    <p:sldId id="2146845384" r:id="rId22"/>
    <p:sldId id="214684535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Richwood" initials="AR" lastIdx="6" clrIdx="0">
    <p:extLst>
      <p:ext uri="{19B8F6BF-5375-455C-9EA6-DF929625EA0E}">
        <p15:presenceInfo xmlns:p15="http://schemas.microsoft.com/office/powerpoint/2012/main" userId="S::alexander.richwood@veeva.com::6a746949-975a-4404-914f-fa4a61014c27" providerId="AD"/>
      </p:ext>
    </p:extLst>
  </p:cmAuthor>
  <p:cmAuthor id="2" name="Eeva Salminen" initials="ES" lastIdx="7" clrIdx="1">
    <p:extLst>
      <p:ext uri="{19B8F6BF-5375-455C-9EA6-DF929625EA0E}">
        <p15:presenceInfo xmlns:p15="http://schemas.microsoft.com/office/powerpoint/2012/main" userId="S::Eeva.Salminen@glpg.com::d9b74af8-c6bb-49ef-a415-bfd3d98e89e8" providerId="AD"/>
      </p:ext>
    </p:extLst>
  </p:cmAuthor>
  <p:cmAuthor id="3" name="Alexandre Raynaud" initials="AR" lastIdx="3" clrIdx="2">
    <p:extLst>
      <p:ext uri="{19B8F6BF-5375-455C-9EA6-DF929625EA0E}">
        <p15:presenceInfo xmlns:p15="http://schemas.microsoft.com/office/powerpoint/2012/main" userId="S::alexandre.raynaud@veeva.com::62013f2f-fa8b-4728-ba61-7c17181a1d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743A568-397D-4FEE-B5E5-F0EB0729B294}" v="286" dt="2021-04-08T12:01:17.868"/>
    <p1510:client id="{5058CD52-6EC0-B04A-8E10-72B6337AC1D6}" v="494" dt="2021-04-08T14:20:44.041"/>
    <p1510:client id="{DE9C30F8-2F9B-FA17-6CE5-242B79FF359C}" v="75" dt="2021-04-08T11:19:04.9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4743A568-397D-4FEE-B5E5-F0EB0729B294}"/>
    <pc:docChg chg="undo custSel addSld delSld modSld sldOrd delMainMaster">
      <pc:chgData name="Alexander Richwood" userId="6a746949-975a-4404-914f-fa4a61014c27" providerId="ADAL" clId="{4743A568-397D-4FEE-B5E5-F0EB0729B294}" dt="2021-04-08T12:01:17.868" v="1691" actId="1592"/>
      <pc:docMkLst>
        <pc:docMk/>
      </pc:docMkLst>
      <pc:sldChg chg="del">
        <pc:chgData name="Alexander Richwood" userId="6a746949-975a-4404-914f-fa4a61014c27" providerId="ADAL" clId="{4743A568-397D-4FEE-B5E5-F0EB0729B294}" dt="2021-04-08T08:58:50.803" v="5" actId="47"/>
        <pc:sldMkLst>
          <pc:docMk/>
          <pc:sldMk cId="109857222" sldId="256"/>
        </pc:sldMkLst>
      </pc:sldChg>
      <pc:sldChg chg="modSp add del mod">
        <pc:chgData name="Alexander Richwood" userId="6a746949-975a-4404-914f-fa4a61014c27" providerId="ADAL" clId="{4743A568-397D-4FEE-B5E5-F0EB0729B294}" dt="2021-04-08T08:58:53.727" v="10" actId="20577"/>
        <pc:sldMkLst>
          <pc:docMk/>
          <pc:sldMk cId="2431007435" sldId="2134960094"/>
        </pc:sldMkLst>
        <pc:spChg chg="mod">
          <ac:chgData name="Alexander Richwood" userId="6a746949-975a-4404-914f-fa4a61014c27" providerId="ADAL" clId="{4743A568-397D-4FEE-B5E5-F0EB0729B294}" dt="2021-04-08T08:58:48.884" v="3"/>
          <ac:spMkLst>
            <pc:docMk/>
            <pc:sldMk cId="2431007435" sldId="2134960094"/>
            <ac:spMk id="10" creationId="{60886EF2-2B26-4952-927D-59508706B5B0}"/>
          </ac:spMkLst>
        </pc:spChg>
        <pc:spChg chg="mod">
          <ac:chgData name="Alexander Richwood" userId="6a746949-975a-4404-914f-fa4a61014c27" providerId="ADAL" clId="{4743A568-397D-4FEE-B5E5-F0EB0729B294}" dt="2021-04-08T08:58:53.727" v="10" actId="20577"/>
          <ac:spMkLst>
            <pc:docMk/>
            <pc:sldMk cId="2431007435" sldId="2134960094"/>
            <ac:spMk id="12" creationId="{26E84B6B-B86E-4849-AD54-227E2CC58E55}"/>
          </ac:spMkLst>
        </pc:spChg>
      </pc:sldChg>
      <pc:sldChg chg="add">
        <pc:chgData name="Alexander Richwood" userId="6a746949-975a-4404-914f-fa4a61014c27" providerId="ADAL" clId="{4743A568-397D-4FEE-B5E5-F0EB0729B294}" dt="2021-04-08T09:06:13.904" v="78"/>
        <pc:sldMkLst>
          <pc:docMk/>
          <pc:sldMk cId="1829541351" sldId="2146845337"/>
        </pc:sldMkLst>
      </pc:sldChg>
      <pc:sldChg chg="add">
        <pc:chgData name="Alexander Richwood" userId="6a746949-975a-4404-914f-fa4a61014c27" providerId="ADAL" clId="{4743A568-397D-4FEE-B5E5-F0EB0729B294}" dt="2021-04-08T09:06:13.904" v="78"/>
        <pc:sldMkLst>
          <pc:docMk/>
          <pc:sldMk cId="975190040" sldId="2146845339"/>
        </pc:sldMkLst>
      </pc:sldChg>
      <pc:sldChg chg="add del ord delCm">
        <pc:chgData name="Alexander Richwood" userId="6a746949-975a-4404-914f-fa4a61014c27" providerId="ADAL" clId="{4743A568-397D-4FEE-B5E5-F0EB0729B294}" dt="2021-04-08T09:09:06.936" v="122" actId="47"/>
        <pc:sldMkLst>
          <pc:docMk/>
          <pc:sldMk cId="3279542766" sldId="2146845345"/>
        </pc:sldMkLst>
      </pc:sldChg>
      <pc:sldChg chg="addSp delSp modSp add del mod ord">
        <pc:chgData name="Alexander Richwood" userId="6a746949-975a-4404-914f-fa4a61014c27" providerId="ADAL" clId="{4743A568-397D-4FEE-B5E5-F0EB0729B294}" dt="2021-04-08T10:50:16.839" v="1285" actId="47"/>
        <pc:sldMkLst>
          <pc:docMk/>
          <pc:sldMk cId="2422488644" sldId="2146845346"/>
        </pc:sldMkLst>
        <pc:spChg chg="mod">
          <ac:chgData name="Alexander Richwood" userId="6a746949-975a-4404-914f-fa4a61014c27" providerId="ADAL" clId="{4743A568-397D-4FEE-B5E5-F0EB0729B294}" dt="2021-04-08T09:07:10.300" v="84" actId="1076"/>
          <ac:spMkLst>
            <pc:docMk/>
            <pc:sldMk cId="2422488644" sldId="2146845346"/>
            <ac:spMk id="2" creationId="{14A49FD3-940B-47A0-A95C-C08F270EC9E4}"/>
          </ac:spMkLst>
        </pc:spChg>
        <pc:spChg chg="mod">
          <ac:chgData name="Alexander Richwood" userId="6a746949-975a-4404-914f-fa4a61014c27" providerId="ADAL" clId="{4743A568-397D-4FEE-B5E5-F0EB0729B294}" dt="2021-04-08T09:07:10.300" v="84" actId="1076"/>
          <ac:spMkLst>
            <pc:docMk/>
            <pc:sldMk cId="2422488644" sldId="2146845346"/>
            <ac:spMk id="3" creationId="{21B77FAF-9351-4BA9-97FC-935D2A7A4038}"/>
          </ac:spMkLst>
        </pc:spChg>
        <pc:spChg chg="mod">
          <ac:chgData name="Alexander Richwood" userId="6a746949-975a-4404-914f-fa4a61014c27" providerId="ADAL" clId="{4743A568-397D-4FEE-B5E5-F0EB0729B294}" dt="2021-04-08T09:07:10.300" v="84" actId="1076"/>
          <ac:spMkLst>
            <pc:docMk/>
            <pc:sldMk cId="2422488644" sldId="2146845346"/>
            <ac:spMk id="7" creationId="{BDB79018-7BBD-4B78-AE5D-D205F7EBB40B}"/>
          </ac:spMkLst>
        </pc:spChg>
        <pc:spChg chg="del">
          <ac:chgData name="Alexander Richwood" userId="6a746949-975a-4404-914f-fa4a61014c27" providerId="ADAL" clId="{4743A568-397D-4FEE-B5E5-F0EB0729B294}" dt="2021-04-08T09:07:24.792" v="85" actId="478"/>
          <ac:spMkLst>
            <pc:docMk/>
            <pc:sldMk cId="2422488644" sldId="2146845346"/>
            <ac:spMk id="8" creationId="{4839194F-55BB-48D6-B0A3-D1882A635B2A}"/>
          </ac:spMkLst>
        </pc:spChg>
        <pc:spChg chg="del">
          <ac:chgData name="Alexander Richwood" userId="6a746949-975a-4404-914f-fa4a61014c27" providerId="ADAL" clId="{4743A568-397D-4FEE-B5E5-F0EB0729B294}" dt="2021-04-08T09:07:24.792" v="85" actId="478"/>
          <ac:spMkLst>
            <pc:docMk/>
            <pc:sldMk cId="2422488644" sldId="2146845346"/>
            <ac:spMk id="9" creationId="{3048F14B-85B0-4AFD-8B54-74B67CD4686D}"/>
          </ac:spMkLst>
        </pc:spChg>
        <pc:spChg chg="add mod">
          <ac:chgData name="Alexander Richwood" userId="6a746949-975a-4404-914f-fa4a61014c27" providerId="ADAL" clId="{4743A568-397D-4FEE-B5E5-F0EB0729B294}" dt="2021-04-08T09:08:28.839" v="117" actId="14100"/>
          <ac:spMkLst>
            <pc:docMk/>
            <pc:sldMk cId="2422488644" sldId="2146845346"/>
            <ac:spMk id="10" creationId="{A5FE07D6-97DC-4830-AAF2-52951919B0AB}"/>
          </ac:spMkLst>
        </pc:spChg>
        <pc:spChg chg="add mod">
          <ac:chgData name="Alexander Richwood" userId="6a746949-975a-4404-914f-fa4a61014c27" providerId="ADAL" clId="{4743A568-397D-4FEE-B5E5-F0EB0729B294}" dt="2021-04-08T09:08:39.072" v="119" actId="1076"/>
          <ac:spMkLst>
            <pc:docMk/>
            <pc:sldMk cId="2422488644" sldId="2146845346"/>
            <ac:spMk id="11" creationId="{5D085372-5790-4224-A7CE-AF85B7EDC5DA}"/>
          </ac:spMkLst>
        </pc:spChg>
        <pc:spChg chg="add mod">
          <ac:chgData name="Alexander Richwood" userId="6a746949-975a-4404-914f-fa4a61014c27" providerId="ADAL" clId="{4743A568-397D-4FEE-B5E5-F0EB0729B294}" dt="2021-04-08T09:07:41.621" v="87" actId="1076"/>
          <ac:spMkLst>
            <pc:docMk/>
            <pc:sldMk cId="2422488644" sldId="2146845346"/>
            <ac:spMk id="12" creationId="{DD573AB7-845F-4217-B8A2-834E72937191}"/>
          </ac:spMkLst>
        </pc:spChg>
        <pc:spChg chg="add mod">
          <ac:chgData name="Alexander Richwood" userId="6a746949-975a-4404-914f-fa4a61014c27" providerId="ADAL" clId="{4743A568-397D-4FEE-B5E5-F0EB0729B294}" dt="2021-04-08T09:09:51.836" v="161" actId="20577"/>
          <ac:spMkLst>
            <pc:docMk/>
            <pc:sldMk cId="2422488644" sldId="2146845346"/>
            <ac:spMk id="13" creationId="{CF77D385-A6E7-442E-AF78-8648DD8A1B54}"/>
          </ac:spMkLst>
        </pc:spChg>
        <pc:cxnChg chg="add mod">
          <ac:chgData name="Alexander Richwood" userId="6a746949-975a-4404-914f-fa4a61014c27" providerId="ADAL" clId="{4743A568-397D-4FEE-B5E5-F0EB0729B294}" dt="2021-04-08T10:47:16.053" v="1253" actId="13822"/>
          <ac:cxnSpMkLst>
            <pc:docMk/>
            <pc:sldMk cId="2422488644" sldId="2146845346"/>
            <ac:cxnSpMk id="5" creationId="{B57595CC-C450-4E70-9985-B5C7E0A9FB5C}"/>
          </ac:cxnSpMkLst>
        </pc:cxnChg>
      </pc:sldChg>
      <pc:sldChg chg="modSp add mod ord">
        <pc:chgData name="Alexander Richwood" userId="6a746949-975a-4404-914f-fa4a61014c27" providerId="ADAL" clId="{4743A568-397D-4FEE-B5E5-F0EB0729B294}" dt="2021-04-08T09:09:43.616" v="157"/>
        <pc:sldMkLst>
          <pc:docMk/>
          <pc:sldMk cId="1052940337" sldId="2146845347"/>
        </pc:sldMkLst>
        <pc:spChg chg="mod">
          <ac:chgData name="Alexander Richwood" userId="6a746949-975a-4404-914f-fa4a61014c27" providerId="ADAL" clId="{4743A568-397D-4FEE-B5E5-F0EB0729B294}" dt="2021-04-08T09:09:33.702" v="155" actId="20577"/>
          <ac:spMkLst>
            <pc:docMk/>
            <pc:sldMk cId="1052940337" sldId="2146845347"/>
            <ac:spMk id="2" creationId="{14A49FD3-940B-47A0-A95C-C08F270EC9E4}"/>
          </ac:spMkLst>
        </pc:spChg>
      </pc:sldChg>
      <pc:sldChg chg="add">
        <pc:chgData name="Alexander Richwood" userId="6a746949-975a-4404-914f-fa4a61014c27" providerId="ADAL" clId="{4743A568-397D-4FEE-B5E5-F0EB0729B294}" dt="2021-04-08T09:06:13.904" v="78"/>
        <pc:sldMkLst>
          <pc:docMk/>
          <pc:sldMk cId="119661922" sldId="2146845348"/>
        </pc:sldMkLst>
      </pc:sldChg>
      <pc:sldChg chg="add del">
        <pc:chgData name="Alexander Richwood" userId="6a746949-975a-4404-914f-fa4a61014c27" providerId="ADAL" clId="{4743A568-397D-4FEE-B5E5-F0EB0729B294}" dt="2021-04-08T08:58:48.902" v="4"/>
        <pc:sldMkLst>
          <pc:docMk/>
          <pc:sldMk cId="2823647293" sldId="2146845349"/>
        </pc:sldMkLst>
      </pc:sldChg>
      <pc:sldChg chg="add">
        <pc:chgData name="Alexander Richwood" userId="6a746949-975a-4404-914f-fa4a61014c27" providerId="ADAL" clId="{4743A568-397D-4FEE-B5E5-F0EB0729B294}" dt="2021-04-08T08:59:20.538" v="11"/>
        <pc:sldMkLst>
          <pc:docMk/>
          <pc:sldMk cId="3989646346" sldId="2146845353"/>
        </pc:sldMkLst>
      </pc:sldChg>
      <pc:sldChg chg="add">
        <pc:chgData name="Alexander Richwood" userId="6a746949-975a-4404-914f-fa4a61014c27" providerId="ADAL" clId="{4743A568-397D-4FEE-B5E5-F0EB0729B294}" dt="2021-04-08T09:06:13.904" v="78"/>
        <pc:sldMkLst>
          <pc:docMk/>
          <pc:sldMk cId="2390237650" sldId="2146845354"/>
        </pc:sldMkLst>
      </pc:sldChg>
      <pc:sldChg chg="addSp delSp modSp add mod ord addCm delCm modCm">
        <pc:chgData name="Alexander Richwood" userId="6a746949-975a-4404-914f-fa4a61014c27" providerId="ADAL" clId="{4743A568-397D-4FEE-B5E5-F0EB0729B294}" dt="2021-04-08T11:59:35.271" v="1690" actId="1589"/>
        <pc:sldMkLst>
          <pc:docMk/>
          <pc:sldMk cId="660608739" sldId="2146845360"/>
        </pc:sldMkLst>
        <pc:spChg chg="add del mod">
          <ac:chgData name="Alexander Richwood" userId="6a746949-975a-4404-914f-fa4a61014c27" providerId="ADAL" clId="{4743A568-397D-4FEE-B5E5-F0EB0729B294}" dt="2021-04-08T09:02:36.786" v="47" actId="478"/>
          <ac:spMkLst>
            <pc:docMk/>
            <pc:sldMk cId="660608739" sldId="2146845360"/>
            <ac:spMk id="4" creationId="{8F0FF722-7F14-4DC4-B4B1-1515A138A50C}"/>
          </ac:spMkLst>
        </pc:spChg>
        <pc:spChg chg="add del mod">
          <ac:chgData name="Alexander Richwood" userId="6a746949-975a-4404-914f-fa4a61014c27" providerId="ADAL" clId="{4743A568-397D-4FEE-B5E5-F0EB0729B294}" dt="2021-04-08T11:47:43.239" v="1495" actId="478"/>
          <ac:spMkLst>
            <pc:docMk/>
            <pc:sldMk cId="660608739" sldId="2146845360"/>
            <ac:spMk id="6" creationId="{03E2F150-DAF8-46E2-8A33-4A76B43EDC43}"/>
          </ac:spMkLst>
        </pc:spChg>
        <pc:spChg chg="add mod">
          <ac:chgData name="Alexander Richwood" userId="6a746949-975a-4404-914f-fa4a61014c27" providerId="ADAL" clId="{4743A568-397D-4FEE-B5E5-F0EB0729B294}" dt="2021-04-08T11:54:13.033" v="1618" actId="1036"/>
          <ac:spMkLst>
            <pc:docMk/>
            <pc:sldMk cId="660608739" sldId="2146845360"/>
            <ac:spMk id="8" creationId="{2DFBACDA-A42E-4F4C-AAE1-E91A625C522D}"/>
          </ac:spMkLst>
        </pc:spChg>
        <pc:spChg chg="add mod">
          <ac:chgData name="Alexander Richwood" userId="6a746949-975a-4404-914f-fa4a61014c27" providerId="ADAL" clId="{4743A568-397D-4FEE-B5E5-F0EB0729B294}" dt="2021-04-08T11:53:20.392" v="1595" actId="1076"/>
          <ac:spMkLst>
            <pc:docMk/>
            <pc:sldMk cId="660608739" sldId="2146845360"/>
            <ac:spMk id="9" creationId="{760A9A7E-39F9-4955-8CDE-0095EC0B11C1}"/>
          </ac:spMkLst>
        </pc:spChg>
        <pc:spChg chg="add mod">
          <ac:chgData name="Alexander Richwood" userId="6a746949-975a-4404-914f-fa4a61014c27" providerId="ADAL" clId="{4743A568-397D-4FEE-B5E5-F0EB0729B294}" dt="2021-04-08T11:58:49.898" v="1688" actId="207"/>
          <ac:spMkLst>
            <pc:docMk/>
            <pc:sldMk cId="660608739" sldId="2146845360"/>
            <ac:spMk id="10" creationId="{5E6D2913-8388-46A1-A418-A308F980BBA3}"/>
          </ac:spMkLst>
        </pc:spChg>
        <pc:spChg chg="mod">
          <ac:chgData name="Alexander Richwood" userId="6a746949-975a-4404-914f-fa4a61014c27" providerId="ADAL" clId="{4743A568-397D-4FEE-B5E5-F0EB0729B294}" dt="2021-04-08T11:56:14.426" v="1630" actId="242"/>
          <ac:spMkLst>
            <pc:docMk/>
            <pc:sldMk cId="660608739" sldId="2146845360"/>
            <ac:spMk id="28" creationId="{D8210958-E53F-4741-8B8D-158D67D286FA}"/>
          </ac:spMkLst>
        </pc:spChg>
        <pc:spChg chg="mod">
          <ac:chgData name="Alexander Richwood" userId="6a746949-975a-4404-914f-fa4a61014c27" providerId="ADAL" clId="{4743A568-397D-4FEE-B5E5-F0EB0729B294}" dt="2021-04-08T11:54:25.395" v="1619" actId="14100"/>
          <ac:spMkLst>
            <pc:docMk/>
            <pc:sldMk cId="660608739" sldId="2146845360"/>
            <ac:spMk id="31" creationId="{0B416E53-6DCF-CF4D-9699-B56488B46029}"/>
          </ac:spMkLst>
        </pc:spChg>
        <pc:spChg chg="mod">
          <ac:chgData name="Alexander Richwood" userId="6a746949-975a-4404-914f-fa4a61014c27" providerId="ADAL" clId="{4743A568-397D-4FEE-B5E5-F0EB0729B294}" dt="2021-04-08T11:48:53.649" v="1515" actId="1076"/>
          <ac:spMkLst>
            <pc:docMk/>
            <pc:sldMk cId="660608739" sldId="2146845360"/>
            <ac:spMk id="33" creationId="{406122C8-CAA8-844F-B5E5-99CE9C1718A1}"/>
          </ac:spMkLst>
        </pc:spChg>
        <pc:spChg chg="add mod">
          <ac:chgData name="Alexander Richwood" userId="6a746949-975a-4404-914f-fa4a61014c27" providerId="ADAL" clId="{4743A568-397D-4FEE-B5E5-F0EB0729B294}" dt="2021-04-08T11:48:48.267" v="1512" actId="1035"/>
          <ac:spMkLst>
            <pc:docMk/>
            <pc:sldMk cId="660608739" sldId="2146845360"/>
            <ac:spMk id="36" creationId="{7A1EE0E6-D47E-4033-BE00-750B3DD43879}"/>
          </ac:spMkLst>
        </pc:spChg>
        <pc:spChg chg="mod">
          <ac:chgData name="Alexander Richwood" userId="6a746949-975a-4404-914f-fa4a61014c27" providerId="ADAL" clId="{4743A568-397D-4FEE-B5E5-F0EB0729B294}" dt="2021-04-08T11:53:41.730" v="1596" actId="1076"/>
          <ac:spMkLst>
            <pc:docMk/>
            <pc:sldMk cId="660608739" sldId="2146845360"/>
            <ac:spMk id="37" creationId="{BC33ACEF-8A9E-7E41-B92C-84F2EBFAE955}"/>
          </ac:spMkLst>
        </pc:spChg>
        <pc:spChg chg="mod">
          <ac:chgData name="Alexander Richwood" userId="6a746949-975a-4404-914f-fa4a61014c27" providerId="ADAL" clId="{4743A568-397D-4FEE-B5E5-F0EB0729B294}" dt="2021-04-08T11:53:41.730" v="1596" actId="1076"/>
          <ac:spMkLst>
            <pc:docMk/>
            <pc:sldMk cId="660608739" sldId="2146845360"/>
            <ac:spMk id="38" creationId="{DEFEF420-AE55-DC42-887C-DC93CA4F8AC9}"/>
          </ac:spMkLst>
        </pc:spChg>
        <pc:spChg chg="mod">
          <ac:chgData name="Alexander Richwood" userId="6a746949-975a-4404-914f-fa4a61014c27" providerId="ADAL" clId="{4743A568-397D-4FEE-B5E5-F0EB0729B294}" dt="2021-04-08T11:53:41.730" v="1596" actId="1076"/>
          <ac:spMkLst>
            <pc:docMk/>
            <pc:sldMk cId="660608739" sldId="2146845360"/>
            <ac:spMk id="40" creationId="{431F49AE-9365-5544-B91B-3009D96CE79D}"/>
          </ac:spMkLst>
        </pc:spChg>
        <pc:spChg chg="mod">
          <ac:chgData name="Alexander Richwood" userId="6a746949-975a-4404-914f-fa4a61014c27" providerId="ADAL" clId="{4743A568-397D-4FEE-B5E5-F0EB0729B294}" dt="2021-04-08T11:53:41.730" v="1596" actId="1076"/>
          <ac:spMkLst>
            <pc:docMk/>
            <pc:sldMk cId="660608739" sldId="2146845360"/>
            <ac:spMk id="41" creationId="{268E4893-38A1-5E49-867D-CE3F27C824FA}"/>
          </ac:spMkLst>
        </pc:spChg>
        <pc:spChg chg="add mod">
          <ac:chgData name="Alexander Richwood" userId="6a746949-975a-4404-914f-fa4a61014c27" providerId="ADAL" clId="{4743A568-397D-4FEE-B5E5-F0EB0729B294}" dt="2021-04-08T11:53:20.392" v="1595" actId="1076"/>
          <ac:spMkLst>
            <pc:docMk/>
            <pc:sldMk cId="660608739" sldId="2146845360"/>
            <ac:spMk id="42" creationId="{653C53B1-C8A3-4980-8B7F-8FF6BA08881A}"/>
          </ac:spMkLst>
        </pc:spChg>
        <pc:spChg chg="add mod">
          <ac:chgData name="Alexander Richwood" userId="6a746949-975a-4404-914f-fa4a61014c27" providerId="ADAL" clId="{4743A568-397D-4FEE-B5E5-F0EB0729B294}" dt="2021-04-08T11:58:49.898" v="1688" actId="207"/>
          <ac:spMkLst>
            <pc:docMk/>
            <pc:sldMk cId="660608739" sldId="2146845360"/>
            <ac:spMk id="43" creationId="{168D4DA9-9A2D-4F90-8147-EC230E733CBB}"/>
          </ac:spMkLst>
        </pc:spChg>
        <pc:spChg chg="add mod">
          <ac:chgData name="Alexander Richwood" userId="6a746949-975a-4404-914f-fa4a61014c27" providerId="ADAL" clId="{4743A568-397D-4FEE-B5E5-F0EB0729B294}" dt="2021-04-08T11:58:49.898" v="1688" actId="207"/>
          <ac:spMkLst>
            <pc:docMk/>
            <pc:sldMk cId="660608739" sldId="2146845360"/>
            <ac:spMk id="44" creationId="{F8838902-71BD-43EC-BD67-EF6461D5B54C}"/>
          </ac:spMkLst>
        </pc:spChg>
        <pc:spChg chg="add mod">
          <ac:chgData name="Alexander Richwood" userId="6a746949-975a-4404-914f-fa4a61014c27" providerId="ADAL" clId="{4743A568-397D-4FEE-B5E5-F0EB0729B294}" dt="2021-04-08T11:58:52.531" v="1689" actId="207"/>
          <ac:spMkLst>
            <pc:docMk/>
            <pc:sldMk cId="660608739" sldId="2146845360"/>
            <ac:spMk id="47" creationId="{F180F9B2-A62E-4D42-A639-2EF9AAFA067E}"/>
          </ac:spMkLst>
        </pc:spChg>
        <pc:spChg chg="add mod">
          <ac:chgData name="Alexander Richwood" userId="6a746949-975a-4404-914f-fa4a61014c27" providerId="ADAL" clId="{4743A568-397D-4FEE-B5E5-F0EB0729B294}" dt="2021-04-08T11:57:49.250" v="1685" actId="20577"/>
          <ac:spMkLst>
            <pc:docMk/>
            <pc:sldMk cId="660608739" sldId="2146845360"/>
            <ac:spMk id="48" creationId="{49A2E00D-2BB4-4F60-B23B-D68E0AC8E8B6}"/>
          </ac:spMkLst>
        </pc:spChg>
      </pc:sldChg>
      <pc:sldChg chg="add del">
        <pc:chgData name="Alexander Richwood" userId="6a746949-975a-4404-914f-fa4a61014c27" providerId="ADAL" clId="{4743A568-397D-4FEE-B5E5-F0EB0729B294}" dt="2021-04-08T10:46:33.715" v="1251" actId="47"/>
        <pc:sldMkLst>
          <pc:docMk/>
          <pc:sldMk cId="1670228795" sldId="2146845361"/>
        </pc:sldMkLst>
      </pc:sldChg>
      <pc:sldChg chg="add del">
        <pc:chgData name="Alexander Richwood" userId="6a746949-975a-4404-914f-fa4a61014c27" providerId="ADAL" clId="{4743A568-397D-4FEE-B5E5-F0EB0729B294}" dt="2021-04-08T10:46:33.715" v="1251" actId="47"/>
        <pc:sldMkLst>
          <pc:docMk/>
          <pc:sldMk cId="2451724449" sldId="2146845363"/>
        </pc:sldMkLst>
      </pc:sldChg>
      <pc:sldChg chg="add">
        <pc:chgData name="Alexander Richwood" userId="6a746949-975a-4404-914f-fa4a61014c27" providerId="ADAL" clId="{4743A568-397D-4FEE-B5E5-F0EB0729B294}" dt="2021-04-08T09:06:13.904" v="78"/>
        <pc:sldMkLst>
          <pc:docMk/>
          <pc:sldMk cId="2954675895" sldId="2146845365"/>
        </pc:sldMkLst>
      </pc:sldChg>
      <pc:sldChg chg="addSp modSp add del mod">
        <pc:chgData name="Alexander Richwood" userId="6a746949-975a-4404-914f-fa4a61014c27" providerId="ADAL" clId="{4743A568-397D-4FEE-B5E5-F0EB0729B294}" dt="2021-04-08T09:15:55.029" v="207" actId="47"/>
        <pc:sldMkLst>
          <pc:docMk/>
          <pc:sldMk cId="1032670216" sldId="2146845379"/>
        </pc:sldMkLst>
        <pc:spChg chg="mod">
          <ac:chgData name="Alexander Richwood" userId="6a746949-975a-4404-914f-fa4a61014c27" providerId="ADAL" clId="{4743A568-397D-4FEE-B5E5-F0EB0729B294}" dt="2021-04-08T09:04:11.333" v="57" actId="1076"/>
          <ac:spMkLst>
            <pc:docMk/>
            <pc:sldMk cId="1032670216" sldId="2146845379"/>
            <ac:spMk id="5" creationId="{21930B4E-309D-4A59-94DD-37775FE9B2C3}"/>
          </ac:spMkLst>
        </pc:spChg>
        <pc:spChg chg="mod">
          <ac:chgData name="Alexander Richwood" userId="6a746949-975a-4404-914f-fa4a61014c27" providerId="ADAL" clId="{4743A568-397D-4FEE-B5E5-F0EB0729B294}" dt="2021-04-08T09:04:11.333" v="57" actId="1076"/>
          <ac:spMkLst>
            <pc:docMk/>
            <pc:sldMk cId="1032670216" sldId="2146845379"/>
            <ac:spMk id="6" creationId="{3DBA0410-5795-45EC-893C-8C933CAC3795}"/>
          </ac:spMkLst>
        </pc:spChg>
        <pc:spChg chg="add mod">
          <ac:chgData name="Alexander Richwood" userId="6a746949-975a-4404-914f-fa4a61014c27" providerId="ADAL" clId="{4743A568-397D-4FEE-B5E5-F0EB0729B294}" dt="2021-04-08T09:12:45.533" v="176" actId="20577"/>
          <ac:spMkLst>
            <pc:docMk/>
            <pc:sldMk cId="1032670216" sldId="2146845379"/>
            <ac:spMk id="8" creationId="{F23EFA9C-A5BB-4CC5-ACC6-2C65EFBECE9F}"/>
          </ac:spMkLst>
        </pc:spChg>
        <pc:spChg chg="mod">
          <ac:chgData name="Alexander Richwood" userId="6a746949-975a-4404-914f-fa4a61014c27" providerId="ADAL" clId="{4743A568-397D-4FEE-B5E5-F0EB0729B294}" dt="2021-04-08T09:04:11.333" v="57" actId="1076"/>
          <ac:spMkLst>
            <pc:docMk/>
            <pc:sldMk cId="1032670216" sldId="2146845379"/>
            <ac:spMk id="12" creationId="{0DF71DE9-3A68-4EA1-8221-5A0F172EBE5A}"/>
          </ac:spMkLst>
        </pc:spChg>
        <pc:spChg chg="mod">
          <ac:chgData name="Alexander Richwood" userId="6a746949-975a-4404-914f-fa4a61014c27" providerId="ADAL" clId="{4743A568-397D-4FEE-B5E5-F0EB0729B294}" dt="2021-04-08T09:04:11.333" v="57" actId="1076"/>
          <ac:spMkLst>
            <pc:docMk/>
            <pc:sldMk cId="1032670216" sldId="2146845379"/>
            <ac:spMk id="13" creationId="{6B5CFAFF-68AD-43DB-9B0B-B50E8CC84109}"/>
          </ac:spMkLst>
        </pc:spChg>
        <pc:picChg chg="mod">
          <ac:chgData name="Alexander Richwood" userId="6a746949-975a-4404-914f-fa4a61014c27" providerId="ADAL" clId="{4743A568-397D-4FEE-B5E5-F0EB0729B294}" dt="2021-04-08T09:04:11.333" v="57" actId="1076"/>
          <ac:picMkLst>
            <pc:docMk/>
            <pc:sldMk cId="1032670216" sldId="2146845379"/>
            <ac:picMk id="9" creationId="{B62A6A67-3FA7-40A1-A17F-FC2F65CCC18C}"/>
          </ac:picMkLst>
        </pc:picChg>
        <pc:picChg chg="mod">
          <ac:chgData name="Alexander Richwood" userId="6a746949-975a-4404-914f-fa4a61014c27" providerId="ADAL" clId="{4743A568-397D-4FEE-B5E5-F0EB0729B294}" dt="2021-04-08T09:04:11.333" v="57" actId="1076"/>
          <ac:picMkLst>
            <pc:docMk/>
            <pc:sldMk cId="1032670216" sldId="2146845379"/>
            <ac:picMk id="17" creationId="{1DB6095E-0CDC-4CC6-82DD-48FE40C95557}"/>
          </ac:picMkLst>
        </pc:picChg>
      </pc:sldChg>
      <pc:sldChg chg="modSp add mod">
        <pc:chgData name="Alexander Richwood" userId="6a746949-975a-4404-914f-fa4a61014c27" providerId="ADAL" clId="{4743A568-397D-4FEE-B5E5-F0EB0729B294}" dt="2021-04-08T10:47:57.395" v="1258" actId="20577"/>
        <pc:sldMkLst>
          <pc:docMk/>
          <pc:sldMk cId="2281772015" sldId="2146845380"/>
        </pc:sldMkLst>
        <pc:spChg chg="mod">
          <ac:chgData name="Alexander Richwood" userId="6a746949-975a-4404-914f-fa4a61014c27" providerId="ADAL" clId="{4743A568-397D-4FEE-B5E5-F0EB0729B294}" dt="2021-04-08T10:47:57.395" v="1258" actId="20577"/>
          <ac:spMkLst>
            <pc:docMk/>
            <pc:sldMk cId="2281772015" sldId="2146845380"/>
            <ac:spMk id="2" creationId="{14A49FD3-940B-47A0-A95C-C08F270EC9E4}"/>
          </ac:spMkLst>
        </pc:spChg>
      </pc:sldChg>
      <pc:sldChg chg="add ord">
        <pc:chgData name="Alexander Richwood" userId="6a746949-975a-4404-914f-fa4a61014c27" providerId="ADAL" clId="{4743A568-397D-4FEE-B5E5-F0EB0729B294}" dt="2021-04-08T09:06:48.305" v="83"/>
        <pc:sldMkLst>
          <pc:docMk/>
          <pc:sldMk cId="1868202182" sldId="2146845381"/>
        </pc:sldMkLst>
      </pc:sldChg>
      <pc:sldChg chg="add">
        <pc:chgData name="Alexander Richwood" userId="6a746949-975a-4404-914f-fa4a61014c27" providerId="ADAL" clId="{4743A568-397D-4FEE-B5E5-F0EB0729B294}" dt="2021-04-08T09:12:03.861" v="162"/>
        <pc:sldMkLst>
          <pc:docMk/>
          <pc:sldMk cId="2722602961" sldId="2146845382"/>
        </pc:sldMkLst>
      </pc:sldChg>
      <pc:sldChg chg="add">
        <pc:chgData name="Alexander Richwood" userId="6a746949-975a-4404-914f-fa4a61014c27" providerId="ADAL" clId="{4743A568-397D-4FEE-B5E5-F0EB0729B294}" dt="2021-04-08T09:12:03.861" v="162"/>
        <pc:sldMkLst>
          <pc:docMk/>
          <pc:sldMk cId="120272075" sldId="2146845383"/>
        </pc:sldMkLst>
      </pc:sldChg>
      <pc:sldChg chg="add ord">
        <pc:chgData name="Alexander Richwood" userId="6a746949-975a-4404-914f-fa4a61014c27" providerId="ADAL" clId="{4743A568-397D-4FEE-B5E5-F0EB0729B294}" dt="2021-04-08T10:05:42.924" v="1250"/>
        <pc:sldMkLst>
          <pc:docMk/>
          <pc:sldMk cId="2164053646" sldId="2146845384"/>
        </pc:sldMkLst>
      </pc:sldChg>
      <pc:sldChg chg="addSp delSp modSp add mod modShow addCm">
        <pc:chgData name="Alexander Richwood" userId="6a746949-975a-4404-914f-fa4a61014c27" providerId="ADAL" clId="{4743A568-397D-4FEE-B5E5-F0EB0729B294}" dt="2021-04-08T11:41:01.217" v="1452" actId="1589"/>
        <pc:sldMkLst>
          <pc:docMk/>
          <pc:sldMk cId="3858680748" sldId="2146845385"/>
        </pc:sldMkLst>
        <pc:spChg chg="add del mod">
          <ac:chgData name="Alexander Richwood" userId="6a746949-975a-4404-914f-fa4a61014c27" providerId="ADAL" clId="{4743A568-397D-4FEE-B5E5-F0EB0729B294}" dt="2021-04-08T09:23:00.581" v="298" actId="478"/>
          <ac:spMkLst>
            <pc:docMk/>
            <pc:sldMk cId="3858680748" sldId="2146845385"/>
            <ac:spMk id="2" creationId="{1468E9F5-555D-48C7-B523-F814773555DA}"/>
          </ac:spMkLst>
        </pc:spChg>
        <pc:spChg chg="add mod">
          <ac:chgData name="Alexander Richwood" userId="6a746949-975a-4404-914f-fa4a61014c27" providerId="ADAL" clId="{4743A568-397D-4FEE-B5E5-F0EB0729B294}" dt="2021-04-08T09:22:39.484" v="295" actId="403"/>
          <ac:spMkLst>
            <pc:docMk/>
            <pc:sldMk cId="3858680748" sldId="2146845385"/>
            <ac:spMk id="3" creationId="{BADF713F-AE1B-46AC-81F7-573D2ADCE1D2}"/>
          </ac:spMkLst>
        </pc:spChg>
        <pc:spChg chg="mod">
          <ac:chgData name="Alexander Richwood" userId="6a746949-975a-4404-914f-fa4a61014c27" providerId="ADAL" clId="{4743A568-397D-4FEE-B5E5-F0EB0729B294}" dt="2021-04-08T09:14:44.797" v="198" actId="1076"/>
          <ac:spMkLst>
            <pc:docMk/>
            <pc:sldMk cId="3858680748" sldId="2146845385"/>
            <ac:spMk id="5" creationId="{21930B4E-309D-4A59-94DD-37775FE9B2C3}"/>
          </ac:spMkLst>
        </pc:spChg>
        <pc:spChg chg="mod">
          <ac:chgData name="Alexander Richwood" userId="6a746949-975a-4404-914f-fa4a61014c27" providerId="ADAL" clId="{4743A568-397D-4FEE-B5E5-F0EB0729B294}" dt="2021-04-08T09:14:43.008" v="194" actId="554"/>
          <ac:spMkLst>
            <pc:docMk/>
            <pc:sldMk cId="3858680748" sldId="2146845385"/>
            <ac:spMk id="6" creationId="{3DBA0410-5795-45EC-893C-8C933CAC3795}"/>
          </ac:spMkLst>
        </pc:spChg>
        <pc:spChg chg="mod">
          <ac:chgData name="Alexander Richwood" userId="6a746949-975a-4404-914f-fa4a61014c27" providerId="ADAL" clId="{4743A568-397D-4FEE-B5E5-F0EB0729B294}" dt="2021-04-08T09:14:43.456" v="195" actId="14100"/>
          <ac:spMkLst>
            <pc:docMk/>
            <pc:sldMk cId="3858680748" sldId="2146845385"/>
            <ac:spMk id="8" creationId="{F23EFA9C-A5BB-4CC5-ACC6-2C65EFBECE9F}"/>
          </ac:spMkLst>
        </pc:spChg>
        <pc:spChg chg="mod">
          <ac:chgData name="Alexander Richwood" userId="6a746949-975a-4404-914f-fa4a61014c27" providerId="ADAL" clId="{4743A568-397D-4FEE-B5E5-F0EB0729B294}" dt="2021-04-08T09:14:44.797" v="198" actId="1076"/>
          <ac:spMkLst>
            <pc:docMk/>
            <pc:sldMk cId="3858680748" sldId="2146845385"/>
            <ac:spMk id="12" creationId="{0DF71DE9-3A68-4EA1-8221-5A0F172EBE5A}"/>
          </ac:spMkLst>
        </pc:spChg>
        <pc:spChg chg="mod">
          <ac:chgData name="Alexander Richwood" userId="6a746949-975a-4404-914f-fa4a61014c27" providerId="ADAL" clId="{4743A568-397D-4FEE-B5E5-F0EB0729B294}" dt="2021-04-08T09:14:42.515" v="193" actId="554"/>
          <ac:spMkLst>
            <pc:docMk/>
            <pc:sldMk cId="3858680748" sldId="2146845385"/>
            <ac:spMk id="13" creationId="{6B5CFAFF-68AD-43DB-9B0B-B50E8CC84109}"/>
          </ac:spMkLst>
        </pc:spChg>
        <pc:spChg chg="add mod">
          <ac:chgData name="Alexander Richwood" userId="6a746949-975a-4404-914f-fa4a61014c27" providerId="ADAL" clId="{4743A568-397D-4FEE-B5E5-F0EB0729B294}" dt="2021-04-08T09:23:03.400" v="300" actId="20577"/>
          <ac:spMkLst>
            <pc:docMk/>
            <pc:sldMk cId="3858680748" sldId="2146845385"/>
            <ac:spMk id="14" creationId="{6949AE59-ACE3-45CA-AE83-88B71163BF82}"/>
          </ac:spMkLst>
        </pc:spChg>
        <pc:picChg chg="add del mod">
          <ac:chgData name="Alexander Richwood" userId="6a746949-975a-4404-914f-fa4a61014c27" providerId="ADAL" clId="{4743A568-397D-4FEE-B5E5-F0EB0729B294}" dt="2021-04-08T09:22:21.986" v="288" actId="478"/>
          <ac:picMkLst>
            <pc:docMk/>
            <pc:sldMk cId="3858680748" sldId="2146845385"/>
            <ac:picMk id="7" creationId="{FA8B4755-D02F-4FE5-813F-069EF3CC8ECA}"/>
          </ac:picMkLst>
        </pc:picChg>
        <pc:picChg chg="del mod">
          <ac:chgData name="Alexander Richwood" userId="6a746949-975a-4404-914f-fa4a61014c27" providerId="ADAL" clId="{4743A568-397D-4FEE-B5E5-F0EB0729B294}" dt="2021-04-08T11:40:34.443" v="1445" actId="478"/>
          <ac:picMkLst>
            <pc:docMk/>
            <pc:sldMk cId="3858680748" sldId="2146845385"/>
            <ac:picMk id="9" creationId="{B62A6A67-3FA7-40A1-A17F-FC2F65CCC18C}"/>
          </ac:picMkLst>
        </pc:picChg>
        <pc:picChg chg="add mod">
          <ac:chgData name="Alexander Richwood" userId="6a746949-975a-4404-914f-fa4a61014c27" providerId="ADAL" clId="{4743A568-397D-4FEE-B5E5-F0EB0729B294}" dt="2021-04-08T11:40:43.570" v="1448" actId="1076"/>
          <ac:picMkLst>
            <pc:docMk/>
            <pc:sldMk cId="3858680748" sldId="2146845385"/>
            <ac:picMk id="11" creationId="{05E74EA9-94FC-495C-A12E-28C5995C544F}"/>
          </ac:picMkLst>
        </pc:picChg>
        <pc:picChg chg="mod">
          <ac:chgData name="Alexander Richwood" userId="6a746949-975a-4404-914f-fa4a61014c27" providerId="ADAL" clId="{4743A568-397D-4FEE-B5E5-F0EB0729B294}" dt="2021-04-08T11:40:49.600" v="1451" actId="1076"/>
          <ac:picMkLst>
            <pc:docMk/>
            <pc:sldMk cId="3858680748" sldId="2146845385"/>
            <ac:picMk id="17" creationId="{1DB6095E-0CDC-4CC6-82DD-48FE40C95557}"/>
          </ac:picMkLst>
        </pc:picChg>
      </pc:sldChg>
      <pc:sldChg chg="modSp new del mod">
        <pc:chgData name="Alexander Richwood" userId="6a746949-975a-4404-914f-fa4a61014c27" providerId="ADAL" clId="{4743A568-397D-4FEE-B5E5-F0EB0729B294}" dt="2021-04-08T09:19:09.369" v="268" actId="47"/>
        <pc:sldMkLst>
          <pc:docMk/>
          <pc:sldMk cId="2705361228" sldId="2146845386"/>
        </pc:sldMkLst>
        <pc:spChg chg="mod">
          <ac:chgData name="Alexander Richwood" userId="6a746949-975a-4404-914f-fa4a61014c27" providerId="ADAL" clId="{4743A568-397D-4FEE-B5E5-F0EB0729B294}" dt="2021-04-08T09:16:13.942" v="264" actId="20577"/>
          <ac:spMkLst>
            <pc:docMk/>
            <pc:sldMk cId="2705361228" sldId="2146845386"/>
            <ac:spMk id="2" creationId="{1F471E0A-B149-430D-A386-69EAD28E26C7}"/>
          </ac:spMkLst>
        </pc:spChg>
      </pc:sldChg>
      <pc:sldChg chg="add">
        <pc:chgData name="Alexander Richwood" userId="6a746949-975a-4404-914f-fa4a61014c27" providerId="ADAL" clId="{4743A568-397D-4FEE-B5E5-F0EB0729B294}" dt="2021-04-08T11:43:32.149" v="1454"/>
        <pc:sldMkLst>
          <pc:docMk/>
          <pc:sldMk cId="1495903228" sldId="2146845391"/>
        </pc:sldMkLst>
      </pc:sldChg>
      <pc:sldChg chg="addSp delSp modSp add mod">
        <pc:chgData name="Alexander Richwood" userId="6a746949-975a-4404-914f-fa4a61014c27" providerId="ADAL" clId="{4743A568-397D-4FEE-B5E5-F0EB0729B294}" dt="2021-04-08T09:25:45.089" v="306"/>
        <pc:sldMkLst>
          <pc:docMk/>
          <pc:sldMk cId="4230091181" sldId="2146845399"/>
        </pc:sldMkLst>
        <pc:spChg chg="del">
          <ac:chgData name="Alexander Richwood" userId="6a746949-975a-4404-914f-fa4a61014c27" providerId="ADAL" clId="{4743A568-397D-4FEE-B5E5-F0EB0729B294}" dt="2021-04-08T09:18:29.017" v="267" actId="478"/>
          <ac:spMkLst>
            <pc:docMk/>
            <pc:sldMk cId="4230091181" sldId="2146845399"/>
            <ac:spMk id="2" creationId="{D9EAB401-DBFD-C149-A9D1-44861500D510}"/>
          </ac:spMkLst>
        </pc:spChg>
        <pc:spChg chg="add mod">
          <ac:chgData name="Alexander Richwood" userId="6a746949-975a-4404-914f-fa4a61014c27" providerId="ADAL" clId="{4743A568-397D-4FEE-B5E5-F0EB0729B294}" dt="2021-04-08T09:23:31.453" v="304"/>
          <ac:spMkLst>
            <pc:docMk/>
            <pc:sldMk cId="4230091181" sldId="2146845399"/>
            <ac:spMk id="50" creationId="{CF547F53-2003-43CD-B782-D0A499EC877F}"/>
          </ac:spMkLst>
        </pc:spChg>
        <pc:picChg chg="add del mod">
          <ac:chgData name="Alexander Richwood" userId="6a746949-975a-4404-914f-fa4a61014c27" providerId="ADAL" clId="{4743A568-397D-4FEE-B5E5-F0EB0729B294}" dt="2021-04-08T09:25:45.089" v="306"/>
          <ac:picMkLst>
            <pc:docMk/>
            <pc:sldMk cId="4230091181" sldId="2146845399"/>
            <ac:picMk id="18" creationId="{BDC10188-175A-4C1B-A91D-252AE086EF75}"/>
          </ac:picMkLst>
        </pc:picChg>
      </pc:sldChg>
      <pc:sldChg chg="addSp modSp add mod">
        <pc:chgData name="Alexander Richwood" userId="6a746949-975a-4404-914f-fa4a61014c27" providerId="ADAL" clId="{4743A568-397D-4FEE-B5E5-F0EB0729B294}" dt="2021-04-08T09:23:27.401" v="303" actId="207"/>
        <pc:sldMkLst>
          <pc:docMk/>
          <pc:sldMk cId="640160025" sldId="2146845400"/>
        </pc:sldMkLst>
        <pc:spChg chg="add mod">
          <ac:chgData name="Alexander Richwood" userId="6a746949-975a-4404-914f-fa4a61014c27" providerId="ADAL" clId="{4743A568-397D-4FEE-B5E5-F0EB0729B294}" dt="2021-04-08T09:23:27.401" v="303" actId="207"/>
          <ac:spMkLst>
            <pc:docMk/>
            <pc:sldMk cId="640160025" sldId="2146845400"/>
            <ac:spMk id="68" creationId="{B93D7674-491B-45AC-98A6-F0DDC8B66C0E}"/>
          </ac:spMkLst>
        </pc:spChg>
      </pc:sldChg>
      <pc:sldChg chg="add">
        <pc:chgData name="Alexander Richwood" userId="6a746949-975a-4404-914f-fa4a61014c27" providerId="ADAL" clId="{4743A568-397D-4FEE-B5E5-F0EB0729B294}" dt="2021-04-08T09:19:39.961" v="269"/>
        <pc:sldMkLst>
          <pc:docMk/>
          <pc:sldMk cId="2859557784" sldId="2146845401"/>
        </pc:sldMkLst>
      </pc:sldChg>
      <pc:sldChg chg="addSp delSp modSp add mod addCm">
        <pc:chgData name="Alexander Richwood" userId="6a746949-975a-4404-914f-fa4a61014c27" providerId="ADAL" clId="{4743A568-397D-4FEE-B5E5-F0EB0729B294}" dt="2021-04-08T11:44:23.296" v="1456" actId="1589"/>
        <pc:sldMkLst>
          <pc:docMk/>
          <pc:sldMk cId="68717007" sldId="2146845402"/>
        </pc:sldMkLst>
        <pc:spChg chg="del">
          <ac:chgData name="Alexander Richwood" userId="6a746949-975a-4404-914f-fa4a61014c27" providerId="ADAL" clId="{4743A568-397D-4FEE-B5E5-F0EB0729B294}" dt="2021-04-08T09:26:12.690" v="312" actId="478"/>
          <ac:spMkLst>
            <pc:docMk/>
            <pc:sldMk cId="68717007" sldId="2146845402"/>
            <ac:spMk id="3" creationId="{BADF713F-AE1B-46AC-81F7-573D2ADCE1D2}"/>
          </ac:spMkLst>
        </pc:spChg>
        <pc:spChg chg="del">
          <ac:chgData name="Alexander Richwood" userId="6a746949-975a-4404-914f-fa4a61014c27" providerId="ADAL" clId="{4743A568-397D-4FEE-B5E5-F0EB0729B294}" dt="2021-04-08T09:26:08.102" v="310" actId="478"/>
          <ac:spMkLst>
            <pc:docMk/>
            <pc:sldMk cId="68717007" sldId="2146845402"/>
            <ac:spMk id="5" creationId="{21930B4E-309D-4A59-94DD-37775FE9B2C3}"/>
          </ac:spMkLst>
        </pc:spChg>
        <pc:spChg chg="del">
          <ac:chgData name="Alexander Richwood" userId="6a746949-975a-4404-914f-fa4a61014c27" providerId="ADAL" clId="{4743A568-397D-4FEE-B5E5-F0EB0729B294}" dt="2021-04-08T09:26:08.102" v="310" actId="478"/>
          <ac:spMkLst>
            <pc:docMk/>
            <pc:sldMk cId="68717007" sldId="2146845402"/>
            <ac:spMk id="6" creationId="{3DBA0410-5795-45EC-893C-8C933CAC3795}"/>
          </ac:spMkLst>
        </pc:spChg>
        <pc:spChg chg="add mod">
          <ac:chgData name="Alexander Richwood" userId="6a746949-975a-4404-914f-fa4a61014c27" providerId="ADAL" clId="{4743A568-397D-4FEE-B5E5-F0EB0729B294}" dt="2021-04-08T10:50:48.149" v="1290" actId="403"/>
          <ac:spMkLst>
            <pc:docMk/>
            <pc:sldMk cId="68717007" sldId="2146845402"/>
            <ac:spMk id="7" creationId="{946A98EC-82E2-4850-91D1-DF1F4362F07F}"/>
          </ac:spMkLst>
        </pc:spChg>
        <pc:spChg chg="mod">
          <ac:chgData name="Alexander Richwood" userId="6a746949-975a-4404-914f-fa4a61014c27" providerId="ADAL" clId="{4743A568-397D-4FEE-B5E5-F0EB0729B294}" dt="2021-04-08T09:40:14.298" v="339" actId="20577"/>
          <ac:spMkLst>
            <pc:docMk/>
            <pc:sldMk cId="68717007" sldId="2146845402"/>
            <ac:spMk id="8" creationId="{F23EFA9C-A5BB-4CC5-ACC6-2C65EFBECE9F}"/>
          </ac:spMkLst>
        </pc:spChg>
        <pc:spChg chg="del">
          <ac:chgData name="Alexander Richwood" userId="6a746949-975a-4404-914f-fa4a61014c27" providerId="ADAL" clId="{4743A568-397D-4FEE-B5E5-F0EB0729B294}" dt="2021-04-08T09:26:08.102" v="310" actId="478"/>
          <ac:spMkLst>
            <pc:docMk/>
            <pc:sldMk cId="68717007" sldId="2146845402"/>
            <ac:spMk id="12" creationId="{0DF71DE9-3A68-4EA1-8221-5A0F172EBE5A}"/>
          </ac:spMkLst>
        </pc:spChg>
        <pc:spChg chg="del">
          <ac:chgData name="Alexander Richwood" userId="6a746949-975a-4404-914f-fa4a61014c27" providerId="ADAL" clId="{4743A568-397D-4FEE-B5E5-F0EB0729B294}" dt="2021-04-08T09:26:08.102" v="310" actId="478"/>
          <ac:spMkLst>
            <pc:docMk/>
            <pc:sldMk cId="68717007" sldId="2146845402"/>
            <ac:spMk id="13" creationId="{6B5CFAFF-68AD-43DB-9B0B-B50E8CC84109}"/>
          </ac:spMkLst>
        </pc:spChg>
        <pc:spChg chg="del">
          <ac:chgData name="Alexander Richwood" userId="6a746949-975a-4404-914f-fa4a61014c27" providerId="ADAL" clId="{4743A568-397D-4FEE-B5E5-F0EB0729B294}" dt="2021-04-08T09:26:11.816" v="311" actId="478"/>
          <ac:spMkLst>
            <pc:docMk/>
            <pc:sldMk cId="68717007" sldId="2146845402"/>
            <ac:spMk id="14" creationId="{6949AE59-ACE3-45CA-AE83-88B71163BF82}"/>
          </ac:spMkLst>
        </pc:spChg>
        <pc:spChg chg="add mod">
          <ac:chgData name="Alexander Richwood" userId="6a746949-975a-4404-914f-fa4a61014c27" providerId="ADAL" clId="{4743A568-397D-4FEE-B5E5-F0EB0729B294}" dt="2021-04-08T09:40:06.883" v="320" actId="20577"/>
          <ac:spMkLst>
            <pc:docMk/>
            <pc:sldMk cId="68717007" sldId="2146845402"/>
            <ac:spMk id="15" creationId="{F15127E9-7CCF-4490-8CEC-068BEE340245}"/>
          </ac:spMkLst>
        </pc:spChg>
        <pc:spChg chg="add mod">
          <ac:chgData name="Alexander Richwood" userId="6a746949-975a-4404-914f-fa4a61014c27" providerId="ADAL" clId="{4743A568-397D-4FEE-B5E5-F0EB0729B294}" dt="2021-04-08T09:41:40.170" v="352" actId="207"/>
          <ac:spMkLst>
            <pc:docMk/>
            <pc:sldMk cId="68717007" sldId="2146845402"/>
            <ac:spMk id="16" creationId="{43891D5E-682B-47B7-B523-30B91E2C858E}"/>
          </ac:spMkLst>
        </pc:spChg>
        <pc:spChg chg="add mod">
          <ac:chgData name="Alexander Richwood" userId="6a746949-975a-4404-914f-fa4a61014c27" providerId="ADAL" clId="{4743A568-397D-4FEE-B5E5-F0EB0729B294}" dt="2021-04-08T10:50:44.825" v="1289" actId="403"/>
          <ac:spMkLst>
            <pc:docMk/>
            <pc:sldMk cId="68717007" sldId="2146845402"/>
            <ac:spMk id="18" creationId="{D1D45904-C5F2-477C-87E8-A8A39C6D0B4D}"/>
          </ac:spMkLst>
        </pc:spChg>
        <pc:spChg chg="add mod">
          <ac:chgData name="Alexander Richwood" userId="6a746949-975a-4404-914f-fa4a61014c27" providerId="ADAL" clId="{4743A568-397D-4FEE-B5E5-F0EB0729B294}" dt="2021-04-08T10:52:16.981" v="1440" actId="20577"/>
          <ac:spMkLst>
            <pc:docMk/>
            <pc:sldMk cId="68717007" sldId="2146845402"/>
            <ac:spMk id="19" creationId="{CDB8A2EA-798B-4165-91CA-629994127AD1}"/>
          </ac:spMkLst>
        </pc:spChg>
        <pc:picChg chg="add mod modCrop">
          <ac:chgData name="Alexander Richwood" userId="6a746949-975a-4404-914f-fa4a61014c27" providerId="ADAL" clId="{4743A568-397D-4FEE-B5E5-F0EB0729B294}" dt="2021-04-08T09:40:58.513" v="343" actId="1076"/>
          <ac:picMkLst>
            <pc:docMk/>
            <pc:sldMk cId="68717007" sldId="2146845402"/>
            <ac:picMk id="4" creationId="{DB9F5E09-5BA4-40EB-BA82-081C7640C80D}"/>
          </ac:picMkLst>
        </pc:picChg>
        <pc:picChg chg="del">
          <ac:chgData name="Alexander Richwood" userId="6a746949-975a-4404-914f-fa4a61014c27" providerId="ADAL" clId="{4743A568-397D-4FEE-B5E5-F0EB0729B294}" dt="2021-04-08T09:26:08.102" v="310" actId="478"/>
          <ac:picMkLst>
            <pc:docMk/>
            <pc:sldMk cId="68717007" sldId="2146845402"/>
            <ac:picMk id="9" creationId="{B62A6A67-3FA7-40A1-A17F-FC2F65CCC18C}"/>
          </ac:picMkLst>
        </pc:picChg>
        <pc:picChg chg="del">
          <ac:chgData name="Alexander Richwood" userId="6a746949-975a-4404-914f-fa4a61014c27" providerId="ADAL" clId="{4743A568-397D-4FEE-B5E5-F0EB0729B294}" dt="2021-04-08T09:26:08.102" v="310" actId="478"/>
          <ac:picMkLst>
            <pc:docMk/>
            <pc:sldMk cId="68717007" sldId="2146845402"/>
            <ac:picMk id="17" creationId="{1DB6095E-0CDC-4CC6-82DD-48FE40C95557}"/>
          </ac:picMkLst>
        </pc:picChg>
      </pc:sldChg>
      <pc:sldChg chg="new del">
        <pc:chgData name="Alexander Richwood" userId="6a746949-975a-4404-914f-fa4a61014c27" providerId="ADAL" clId="{4743A568-397D-4FEE-B5E5-F0EB0729B294}" dt="2021-04-08T09:25:54.948" v="308" actId="47"/>
        <pc:sldMkLst>
          <pc:docMk/>
          <pc:sldMk cId="546140196" sldId="2146845402"/>
        </pc:sldMkLst>
      </pc:sldChg>
      <pc:sldChg chg="modSp add mod addCm delCm modCm">
        <pc:chgData name="Alexander Richwood" userId="6a746949-975a-4404-914f-fa4a61014c27" providerId="ADAL" clId="{4743A568-397D-4FEE-B5E5-F0EB0729B294}" dt="2021-04-08T12:01:17.868" v="1691" actId="1592"/>
        <pc:sldMkLst>
          <pc:docMk/>
          <pc:sldMk cId="2328823796" sldId="2146845403"/>
        </pc:sldMkLst>
        <pc:spChg chg="mod">
          <ac:chgData name="Alexander Richwood" userId="6a746949-975a-4404-914f-fa4a61014c27" providerId="ADAL" clId="{4743A568-397D-4FEE-B5E5-F0EB0729B294}" dt="2021-04-08T10:49:07.226" v="1282" actId="20577"/>
          <ac:spMkLst>
            <pc:docMk/>
            <pc:sldMk cId="2328823796" sldId="2146845403"/>
            <ac:spMk id="8" creationId="{4839194F-55BB-48D6-B0A3-D1882A635B2A}"/>
          </ac:spMkLst>
        </pc:spChg>
      </pc:sldChg>
      <pc:sldChg chg="add">
        <pc:chgData name="Alexander Richwood" userId="6a746949-975a-4404-914f-fa4a61014c27" providerId="ADAL" clId="{4743A568-397D-4FEE-B5E5-F0EB0729B294}" dt="2021-04-08T10:48:03.461" v="1259"/>
        <pc:sldMkLst>
          <pc:docMk/>
          <pc:sldMk cId="1008592238" sldId="2146845404"/>
        </pc:sldMkLst>
      </pc:sldChg>
      <pc:sldChg chg="addSp del">
        <pc:chgData name="Alexander Richwood" userId="6a746949-975a-4404-914f-fa4a61014c27" providerId="ADAL" clId="{4743A568-397D-4FEE-B5E5-F0EB0729B294}" dt="2021-04-08T11:43:51.624" v="1455" actId="47"/>
        <pc:sldMkLst>
          <pc:docMk/>
          <pc:sldMk cId="2368833147" sldId="2146845405"/>
        </pc:sldMkLst>
        <pc:spChg chg="add">
          <ac:chgData name="Alexander Richwood" userId="6a746949-975a-4404-914f-fa4a61014c27" providerId="ADAL" clId="{4743A568-397D-4FEE-B5E5-F0EB0729B294}" dt="2021-04-08T11:41:41.333" v="1453"/>
          <ac:spMkLst>
            <pc:docMk/>
            <pc:sldMk cId="2368833147" sldId="2146845405"/>
            <ac:spMk id="4" creationId="{893E42A3-575E-4A6F-B507-DA65E662B970}"/>
          </ac:spMkLst>
        </pc:spChg>
      </pc:sldChg>
      <pc:sldMasterChg chg="del delSldLayout">
        <pc:chgData name="Alexander Richwood" userId="6a746949-975a-4404-914f-fa4a61014c27" providerId="ADAL" clId="{4743A568-397D-4FEE-B5E5-F0EB0729B294}" dt="2021-04-08T08:58:50.803" v="5" actId="47"/>
        <pc:sldMasterMkLst>
          <pc:docMk/>
          <pc:sldMasterMk cId="2460954070" sldId="2147483660"/>
        </pc:sldMasterMkLst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2385387890" sldId="2147483661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949138452" sldId="2147483662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2591524520" sldId="2147483663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1203092039" sldId="2147483664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3733172339" sldId="2147483665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3210312558" sldId="2147483666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3146388984" sldId="2147483667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3171841454" sldId="2147483668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1718958274" sldId="2147483669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2202905451" sldId="2147483670"/>
          </pc:sldLayoutMkLst>
        </pc:sldLayoutChg>
        <pc:sldLayoutChg chg="del">
          <pc:chgData name="Alexander Richwood" userId="6a746949-975a-4404-914f-fa4a61014c27" providerId="ADAL" clId="{4743A568-397D-4FEE-B5E5-F0EB0729B294}" dt="2021-04-08T08:58:50.803" v="5" actId="47"/>
          <pc:sldLayoutMkLst>
            <pc:docMk/>
            <pc:sldMasterMk cId="2460954070" sldId="2147483660"/>
            <pc:sldLayoutMk cId="3479445657" sldId="2147483671"/>
          </pc:sldLayoutMkLst>
        </pc:sldLayoutChg>
      </pc:sldMasterChg>
    </pc:docChg>
  </pc:docChgLst>
  <pc:docChgLst>
    <pc:chgData name="Alexandre Raynaud" userId="62013f2f-fa8b-4728-ba61-7c17181a1d4e" providerId="ADAL" clId="{5058CD52-6EC0-B04A-8E10-72B6337AC1D6}"/>
    <pc:docChg chg="undo custSel addSld delSld modSld sldOrd">
      <pc:chgData name="Alexandre Raynaud" userId="62013f2f-fa8b-4728-ba61-7c17181a1d4e" providerId="ADAL" clId="{5058CD52-6EC0-B04A-8E10-72B6337AC1D6}" dt="2021-04-08T14:20:44.042" v="494" actId="1592"/>
      <pc:docMkLst>
        <pc:docMk/>
      </pc:docMkLst>
      <pc:sldChg chg="del">
        <pc:chgData name="Alexandre Raynaud" userId="62013f2f-fa8b-4728-ba61-7c17181a1d4e" providerId="ADAL" clId="{5058CD52-6EC0-B04A-8E10-72B6337AC1D6}" dt="2021-04-08T11:37:27.904" v="298" actId="2696"/>
        <pc:sldMkLst>
          <pc:docMk/>
          <pc:sldMk cId="1829541351" sldId="2146845337"/>
        </pc:sldMkLst>
      </pc:sldChg>
      <pc:sldChg chg="del">
        <pc:chgData name="Alexandre Raynaud" userId="62013f2f-fa8b-4728-ba61-7c17181a1d4e" providerId="ADAL" clId="{5058CD52-6EC0-B04A-8E10-72B6337AC1D6}" dt="2021-04-08T11:24:07.380" v="32" actId="2696"/>
        <pc:sldMkLst>
          <pc:docMk/>
          <pc:sldMk cId="975190040" sldId="2146845339"/>
        </pc:sldMkLst>
      </pc:sldChg>
      <pc:sldChg chg="ord">
        <pc:chgData name="Alexandre Raynaud" userId="62013f2f-fa8b-4728-ba61-7c17181a1d4e" providerId="ADAL" clId="{5058CD52-6EC0-B04A-8E10-72B6337AC1D6}" dt="2021-04-08T11:24:23.530" v="33" actId="20578"/>
        <pc:sldMkLst>
          <pc:docMk/>
          <pc:sldMk cId="119661922" sldId="2146845348"/>
        </pc:sldMkLst>
      </pc:sldChg>
      <pc:sldChg chg="modSp mod">
        <pc:chgData name="Alexandre Raynaud" userId="62013f2f-fa8b-4728-ba61-7c17181a1d4e" providerId="ADAL" clId="{5058CD52-6EC0-B04A-8E10-72B6337AC1D6}" dt="2021-04-08T14:15:35.793" v="343" actId="20577"/>
        <pc:sldMkLst>
          <pc:docMk/>
          <pc:sldMk cId="2823647293" sldId="2146845349"/>
        </pc:sldMkLst>
        <pc:spChg chg="mod">
          <ac:chgData name="Alexandre Raynaud" userId="62013f2f-fa8b-4728-ba61-7c17181a1d4e" providerId="ADAL" clId="{5058CD52-6EC0-B04A-8E10-72B6337AC1D6}" dt="2021-04-08T14:15:35.793" v="343" actId="20577"/>
          <ac:spMkLst>
            <pc:docMk/>
            <pc:sldMk cId="2823647293" sldId="2146845349"/>
            <ac:spMk id="5" creationId="{3F702B9E-E230-47FB-A6FE-35BE071FA1AB}"/>
          </ac:spMkLst>
        </pc:spChg>
      </pc:sldChg>
      <pc:sldChg chg="addSp modSp mod ord addCm delCm">
        <pc:chgData name="Alexandre Raynaud" userId="62013f2f-fa8b-4728-ba61-7c17181a1d4e" providerId="ADAL" clId="{5058CD52-6EC0-B04A-8E10-72B6337AC1D6}" dt="2021-04-08T14:20:44.042" v="494" actId="1592"/>
        <pc:sldMkLst>
          <pc:docMk/>
          <pc:sldMk cId="660608739" sldId="2146845360"/>
        </pc:sldMkLst>
        <pc:spChg chg="mod">
          <ac:chgData name="Alexandre Raynaud" userId="62013f2f-fa8b-4728-ba61-7c17181a1d4e" providerId="ADAL" clId="{5058CD52-6EC0-B04A-8E10-72B6337AC1D6}" dt="2021-04-08T11:29:55.033" v="202" actId="20577"/>
          <ac:spMkLst>
            <pc:docMk/>
            <pc:sldMk cId="660608739" sldId="2146845360"/>
            <ac:spMk id="2" creationId="{C7D3E19A-A59D-4391-BE66-5FC951D8322B}"/>
          </ac:spMkLst>
        </pc:spChg>
        <pc:spChg chg="add mod">
          <ac:chgData name="Alexandre Raynaud" userId="62013f2f-fa8b-4728-ba61-7c17181a1d4e" providerId="ADAL" clId="{5058CD52-6EC0-B04A-8E10-72B6337AC1D6}" dt="2021-04-08T11:32:26.665" v="271" actId="2085"/>
          <ac:spMkLst>
            <pc:docMk/>
            <pc:sldMk cId="660608739" sldId="2146845360"/>
            <ac:spMk id="4" creationId="{ABECBB82-9CB1-CF4E-8F27-F1C8B645D9B4}"/>
          </ac:spMkLst>
        </pc:spChg>
        <pc:spChg chg="mod">
          <ac:chgData name="Alexandre Raynaud" userId="62013f2f-fa8b-4728-ba61-7c17181a1d4e" providerId="ADAL" clId="{5058CD52-6EC0-B04A-8E10-72B6337AC1D6}" dt="2021-04-08T11:36:18.940" v="292" actId="14100"/>
          <ac:spMkLst>
            <pc:docMk/>
            <pc:sldMk cId="660608739" sldId="2146845360"/>
            <ac:spMk id="22" creationId="{8D411DFD-C624-48F0-84F2-D4E6CACA4804}"/>
          </ac:spMkLst>
        </pc:spChg>
        <pc:spChg chg="mod">
          <ac:chgData name="Alexandre Raynaud" userId="62013f2f-fa8b-4728-ba61-7c17181a1d4e" providerId="ADAL" clId="{5058CD52-6EC0-B04A-8E10-72B6337AC1D6}" dt="2021-04-08T11:35:18.737" v="278" actId="1076"/>
          <ac:spMkLst>
            <pc:docMk/>
            <pc:sldMk cId="660608739" sldId="2146845360"/>
            <ac:spMk id="28" creationId="{D8210958-E53F-4741-8B8D-158D67D286FA}"/>
          </ac:spMkLst>
        </pc:spChg>
        <pc:spChg chg="mod">
          <ac:chgData name="Alexandre Raynaud" userId="62013f2f-fa8b-4728-ba61-7c17181a1d4e" providerId="ADAL" clId="{5058CD52-6EC0-B04A-8E10-72B6337AC1D6}" dt="2021-04-08T11:35:22.862" v="279" actId="1076"/>
          <ac:spMkLst>
            <pc:docMk/>
            <pc:sldMk cId="660608739" sldId="2146845360"/>
            <ac:spMk id="31" creationId="{0B416E53-6DCF-CF4D-9699-B56488B46029}"/>
          </ac:spMkLst>
        </pc:spChg>
        <pc:spChg chg="mod">
          <ac:chgData name="Alexandre Raynaud" userId="62013f2f-fa8b-4728-ba61-7c17181a1d4e" providerId="ADAL" clId="{5058CD52-6EC0-B04A-8E10-72B6337AC1D6}" dt="2021-04-08T11:35:22.862" v="279" actId="1076"/>
          <ac:spMkLst>
            <pc:docMk/>
            <pc:sldMk cId="660608739" sldId="2146845360"/>
            <ac:spMk id="33" creationId="{406122C8-CAA8-844F-B5E5-99CE9C1718A1}"/>
          </ac:spMkLst>
        </pc:spChg>
        <pc:spChg chg="mod">
          <ac:chgData name="Alexandre Raynaud" userId="62013f2f-fa8b-4728-ba61-7c17181a1d4e" providerId="ADAL" clId="{5058CD52-6EC0-B04A-8E10-72B6337AC1D6}" dt="2021-04-08T11:35:25.695" v="280" actId="14100"/>
          <ac:spMkLst>
            <pc:docMk/>
            <pc:sldMk cId="660608739" sldId="2146845360"/>
            <ac:spMk id="35" creationId="{0A570103-8944-445D-A7E1-288ECA395315}"/>
          </ac:spMkLst>
        </pc:spChg>
        <pc:spChg chg="mod">
          <ac:chgData name="Alexandre Raynaud" userId="62013f2f-fa8b-4728-ba61-7c17181a1d4e" providerId="ADAL" clId="{5058CD52-6EC0-B04A-8E10-72B6337AC1D6}" dt="2021-04-08T11:35:08.833" v="275" actId="1076"/>
          <ac:spMkLst>
            <pc:docMk/>
            <pc:sldMk cId="660608739" sldId="2146845360"/>
            <ac:spMk id="37" creationId="{BC33ACEF-8A9E-7E41-B92C-84F2EBFAE955}"/>
          </ac:spMkLst>
        </pc:spChg>
        <pc:spChg chg="mod">
          <ac:chgData name="Alexandre Raynaud" userId="62013f2f-fa8b-4728-ba61-7c17181a1d4e" providerId="ADAL" clId="{5058CD52-6EC0-B04A-8E10-72B6337AC1D6}" dt="2021-04-08T11:35:08.833" v="275" actId="1076"/>
          <ac:spMkLst>
            <pc:docMk/>
            <pc:sldMk cId="660608739" sldId="2146845360"/>
            <ac:spMk id="38" creationId="{DEFEF420-AE55-DC42-887C-DC93CA4F8AC9}"/>
          </ac:spMkLst>
        </pc:spChg>
        <pc:spChg chg="mod">
          <ac:chgData name="Alexandre Raynaud" userId="62013f2f-fa8b-4728-ba61-7c17181a1d4e" providerId="ADAL" clId="{5058CD52-6EC0-B04A-8E10-72B6337AC1D6}" dt="2021-04-08T11:36:20.790" v="293" actId="14100"/>
          <ac:spMkLst>
            <pc:docMk/>
            <pc:sldMk cId="660608739" sldId="2146845360"/>
            <ac:spMk id="39" creationId="{5F06B8C1-6334-48D6-9096-EDAF05BC53C9}"/>
          </ac:spMkLst>
        </pc:spChg>
        <pc:spChg chg="mod">
          <ac:chgData name="Alexandre Raynaud" userId="62013f2f-fa8b-4728-ba61-7c17181a1d4e" providerId="ADAL" clId="{5058CD52-6EC0-B04A-8E10-72B6337AC1D6}" dt="2021-04-08T11:36:46.612" v="295" actId="14100"/>
          <ac:spMkLst>
            <pc:docMk/>
            <pc:sldMk cId="660608739" sldId="2146845360"/>
            <ac:spMk id="58" creationId="{AE2304E0-6B0F-4C2F-B07F-BF7D43612F36}"/>
          </ac:spMkLst>
        </pc:spChg>
        <pc:spChg chg="mod">
          <ac:chgData name="Alexandre Raynaud" userId="62013f2f-fa8b-4728-ba61-7c17181a1d4e" providerId="ADAL" clId="{5058CD52-6EC0-B04A-8E10-72B6337AC1D6}" dt="2021-04-08T11:36:25.340" v="294" actId="14100"/>
          <ac:spMkLst>
            <pc:docMk/>
            <pc:sldMk cId="660608739" sldId="2146845360"/>
            <ac:spMk id="60" creationId="{3FFBE066-63AC-4AB8-BA55-C3927AA0790F}"/>
          </ac:spMkLst>
        </pc:spChg>
        <pc:cxnChg chg="add mod">
          <ac:chgData name="Alexandre Raynaud" userId="62013f2f-fa8b-4728-ba61-7c17181a1d4e" providerId="ADAL" clId="{5058CD52-6EC0-B04A-8E10-72B6337AC1D6}" dt="2021-04-08T11:32:05.659" v="268" actId="167"/>
          <ac:cxnSpMkLst>
            <pc:docMk/>
            <pc:sldMk cId="660608739" sldId="2146845360"/>
            <ac:cxnSpMk id="7" creationId="{A556AF9E-61B9-0C4F-AC9C-A2D33BDE4990}"/>
          </ac:cxnSpMkLst>
        </pc:cxnChg>
      </pc:sldChg>
      <pc:sldChg chg="del">
        <pc:chgData name="Alexandre Raynaud" userId="62013f2f-fa8b-4728-ba61-7c17181a1d4e" providerId="ADAL" clId="{5058CD52-6EC0-B04A-8E10-72B6337AC1D6}" dt="2021-04-08T11:37:24.682" v="297" actId="2696"/>
        <pc:sldMkLst>
          <pc:docMk/>
          <pc:sldMk cId="2281772015" sldId="2146845380"/>
        </pc:sldMkLst>
      </pc:sldChg>
      <pc:sldChg chg="del">
        <pc:chgData name="Alexandre Raynaud" userId="62013f2f-fa8b-4728-ba61-7c17181a1d4e" providerId="ADAL" clId="{5058CD52-6EC0-B04A-8E10-72B6337AC1D6}" dt="2021-04-08T11:37:13.557" v="296" actId="2696"/>
        <pc:sldMkLst>
          <pc:docMk/>
          <pc:sldMk cId="1868202182" sldId="2146845381"/>
        </pc:sldMkLst>
      </pc:sldChg>
      <pc:sldChg chg="addSp mod addCm delCm modCm">
        <pc:chgData name="Alexandre Raynaud" userId="62013f2f-fa8b-4728-ba61-7c17181a1d4e" providerId="ADAL" clId="{5058CD52-6EC0-B04A-8E10-72B6337AC1D6}" dt="2021-04-08T14:20:44.037" v="492" actId="1592"/>
        <pc:sldMkLst>
          <pc:docMk/>
          <pc:sldMk cId="3858680748" sldId="2146845385"/>
        </pc:sldMkLst>
        <pc:spChg chg="add">
          <ac:chgData name="Alexandre Raynaud" userId="62013f2f-fa8b-4728-ba61-7c17181a1d4e" providerId="ADAL" clId="{5058CD52-6EC0-B04A-8E10-72B6337AC1D6}" dt="2021-04-08T11:22:45.433" v="31" actId="11529"/>
          <ac:spMkLst>
            <pc:docMk/>
            <pc:sldMk cId="3858680748" sldId="2146845385"/>
            <ac:spMk id="2" creationId="{CD0D2821-F7F0-AB45-AF89-F76AF9A44CAE}"/>
          </ac:spMkLst>
        </pc:spChg>
      </pc:sldChg>
      <pc:sldChg chg="modSp mod">
        <pc:chgData name="Alexandre Raynaud" userId="62013f2f-fa8b-4728-ba61-7c17181a1d4e" providerId="ADAL" clId="{5058CD52-6EC0-B04A-8E10-72B6337AC1D6}" dt="2021-04-08T14:19:41.233" v="491"/>
        <pc:sldMkLst>
          <pc:docMk/>
          <pc:sldMk cId="1495903228" sldId="2146845391"/>
        </pc:sldMkLst>
        <pc:spChg chg="mod">
          <ac:chgData name="Alexandre Raynaud" userId="62013f2f-fa8b-4728-ba61-7c17181a1d4e" providerId="ADAL" clId="{5058CD52-6EC0-B04A-8E10-72B6337AC1D6}" dt="2021-04-08T14:19:22.232" v="485" actId="403"/>
          <ac:spMkLst>
            <pc:docMk/>
            <pc:sldMk cId="1495903228" sldId="2146845391"/>
            <ac:spMk id="2" creationId="{4798D180-47DE-4017-B64E-A97724AE03E2}"/>
          </ac:spMkLst>
        </pc:spChg>
        <pc:spChg chg="mod">
          <ac:chgData name="Alexandre Raynaud" userId="62013f2f-fa8b-4728-ba61-7c17181a1d4e" providerId="ADAL" clId="{5058CD52-6EC0-B04A-8E10-72B6337AC1D6}" dt="2021-04-08T14:19:41.233" v="491"/>
          <ac:spMkLst>
            <pc:docMk/>
            <pc:sldMk cId="1495903228" sldId="2146845391"/>
            <ac:spMk id="3" creationId="{3D02AF15-6837-44AA-BC76-3C2B5E68696D}"/>
          </ac:spMkLst>
        </pc:spChg>
      </pc:sldChg>
      <pc:sldChg chg="delSp modSp mod">
        <pc:chgData name="Alexandre Raynaud" userId="62013f2f-fa8b-4728-ba61-7c17181a1d4e" providerId="ADAL" clId="{5058CD52-6EC0-B04A-8E10-72B6337AC1D6}" dt="2021-04-08T11:22:12.846" v="30" actId="478"/>
        <pc:sldMkLst>
          <pc:docMk/>
          <pc:sldMk cId="4230091181" sldId="2146845399"/>
        </pc:sldMkLst>
        <pc:spChg chg="del mod">
          <ac:chgData name="Alexandre Raynaud" userId="62013f2f-fa8b-4728-ba61-7c17181a1d4e" providerId="ADAL" clId="{5058CD52-6EC0-B04A-8E10-72B6337AC1D6}" dt="2021-04-08T11:22:12.846" v="30" actId="478"/>
          <ac:spMkLst>
            <pc:docMk/>
            <pc:sldMk cId="4230091181" sldId="2146845399"/>
            <ac:spMk id="47" creationId="{C91E1D24-3F00-475E-AF4F-E5BAA97A3B9B}"/>
          </ac:spMkLst>
        </pc:spChg>
      </pc:sldChg>
      <pc:sldChg chg="delSp mod">
        <pc:chgData name="Alexandre Raynaud" userId="62013f2f-fa8b-4728-ba61-7c17181a1d4e" providerId="ADAL" clId="{5058CD52-6EC0-B04A-8E10-72B6337AC1D6}" dt="2021-04-08T11:22:02.930" v="28" actId="478"/>
        <pc:sldMkLst>
          <pc:docMk/>
          <pc:sldMk cId="640160025" sldId="2146845400"/>
        </pc:sldMkLst>
        <pc:spChg chg="del">
          <ac:chgData name="Alexandre Raynaud" userId="62013f2f-fa8b-4728-ba61-7c17181a1d4e" providerId="ADAL" clId="{5058CD52-6EC0-B04A-8E10-72B6337AC1D6}" dt="2021-04-08T11:22:02.930" v="28" actId="478"/>
          <ac:spMkLst>
            <pc:docMk/>
            <pc:sldMk cId="640160025" sldId="2146845400"/>
            <ac:spMk id="21" creationId="{D42370E2-98BB-4931-BF1C-AD27EED6B538}"/>
          </ac:spMkLst>
        </pc:spChg>
      </pc:sldChg>
      <pc:sldChg chg="addSp delSp modSp mod ord">
        <pc:chgData name="Alexandre Raynaud" userId="62013f2f-fa8b-4728-ba61-7c17181a1d4e" providerId="ADAL" clId="{5058CD52-6EC0-B04A-8E10-72B6337AC1D6}" dt="2021-04-08T11:28:54.501" v="131" actId="2085"/>
        <pc:sldMkLst>
          <pc:docMk/>
          <pc:sldMk cId="2859557784" sldId="2146845401"/>
        </pc:sldMkLst>
        <pc:spChg chg="mod">
          <ac:chgData name="Alexandre Raynaud" userId="62013f2f-fa8b-4728-ba61-7c17181a1d4e" providerId="ADAL" clId="{5058CD52-6EC0-B04A-8E10-72B6337AC1D6}" dt="2021-04-08T11:28:07.326" v="117" actId="403"/>
          <ac:spMkLst>
            <pc:docMk/>
            <pc:sldMk cId="2859557784" sldId="2146845401"/>
            <ac:spMk id="2" creationId="{4DCF4AE9-FDF3-2843-8523-0ABC97B8E00D}"/>
          </ac:spMkLst>
        </pc:spChg>
        <pc:spChg chg="add mod">
          <ac:chgData name="Alexandre Raynaud" userId="62013f2f-fa8b-4728-ba61-7c17181a1d4e" providerId="ADAL" clId="{5058CD52-6EC0-B04A-8E10-72B6337AC1D6}" dt="2021-04-08T11:28:54.501" v="131" actId="2085"/>
          <ac:spMkLst>
            <pc:docMk/>
            <pc:sldMk cId="2859557784" sldId="2146845401"/>
            <ac:spMk id="3" creationId="{B29CE0FC-0A59-0A41-B362-5B6EDF76BFDB}"/>
          </ac:spMkLst>
        </pc:spChg>
        <pc:spChg chg="del">
          <ac:chgData name="Alexandre Raynaud" userId="62013f2f-fa8b-4728-ba61-7c17181a1d4e" providerId="ADAL" clId="{5058CD52-6EC0-B04A-8E10-72B6337AC1D6}" dt="2021-04-08T11:28:11.702" v="118" actId="478"/>
          <ac:spMkLst>
            <pc:docMk/>
            <pc:sldMk cId="2859557784" sldId="2146845401"/>
            <ac:spMk id="9" creationId="{E2484928-F458-C648-BD88-9B0EAE0F715D}"/>
          </ac:spMkLst>
        </pc:spChg>
        <pc:picChg chg="mod">
          <ac:chgData name="Alexandre Raynaud" userId="62013f2f-fa8b-4728-ba61-7c17181a1d4e" providerId="ADAL" clId="{5058CD52-6EC0-B04A-8E10-72B6337AC1D6}" dt="2021-04-08T11:28:13.720" v="119" actId="1076"/>
          <ac:picMkLst>
            <pc:docMk/>
            <pc:sldMk cId="2859557784" sldId="2146845401"/>
            <ac:picMk id="6" creationId="{2473106F-5211-A544-9CEC-4881CB9FC20F}"/>
          </ac:picMkLst>
        </pc:picChg>
      </pc:sldChg>
      <pc:sldChg chg="addCm delCm modCm">
        <pc:chgData name="Alexandre Raynaud" userId="62013f2f-fa8b-4728-ba61-7c17181a1d4e" providerId="ADAL" clId="{5058CD52-6EC0-B04A-8E10-72B6337AC1D6}" dt="2021-04-08T14:20:44.039" v="493" actId="1592"/>
        <pc:sldMkLst>
          <pc:docMk/>
          <pc:sldMk cId="68717007" sldId="2146845402"/>
        </pc:sldMkLst>
      </pc:sldChg>
      <pc:sldChg chg="modSp mod">
        <pc:chgData name="Alexandre Raynaud" userId="62013f2f-fa8b-4728-ba61-7c17181a1d4e" providerId="ADAL" clId="{5058CD52-6EC0-B04A-8E10-72B6337AC1D6}" dt="2021-04-08T14:16:56.114" v="376" actId="1076"/>
        <pc:sldMkLst>
          <pc:docMk/>
          <pc:sldMk cId="2328823796" sldId="2146845403"/>
        </pc:sldMkLst>
        <pc:spChg chg="mod">
          <ac:chgData name="Alexandre Raynaud" userId="62013f2f-fa8b-4728-ba61-7c17181a1d4e" providerId="ADAL" clId="{5058CD52-6EC0-B04A-8E10-72B6337AC1D6}" dt="2021-04-08T14:16:50.468" v="375" actId="1076"/>
          <ac:spMkLst>
            <pc:docMk/>
            <pc:sldMk cId="2328823796" sldId="2146845403"/>
            <ac:spMk id="2" creationId="{14A49FD3-940B-47A0-A95C-C08F270EC9E4}"/>
          </ac:spMkLst>
        </pc:spChg>
        <pc:spChg chg="mod">
          <ac:chgData name="Alexandre Raynaud" userId="62013f2f-fa8b-4728-ba61-7c17181a1d4e" providerId="ADAL" clId="{5058CD52-6EC0-B04A-8E10-72B6337AC1D6}" dt="2021-04-08T14:16:42.422" v="373" actId="1076"/>
          <ac:spMkLst>
            <pc:docMk/>
            <pc:sldMk cId="2328823796" sldId="2146845403"/>
            <ac:spMk id="3" creationId="{21B77FAF-9351-4BA9-97FC-935D2A7A4038}"/>
          </ac:spMkLst>
        </pc:spChg>
        <pc:spChg chg="mod">
          <ac:chgData name="Alexandre Raynaud" userId="62013f2f-fa8b-4728-ba61-7c17181a1d4e" providerId="ADAL" clId="{5058CD52-6EC0-B04A-8E10-72B6337AC1D6}" dt="2021-04-08T14:16:39.848" v="372" actId="14100"/>
          <ac:spMkLst>
            <pc:docMk/>
            <pc:sldMk cId="2328823796" sldId="2146845403"/>
            <ac:spMk id="7" creationId="{BDB79018-7BBD-4B78-AE5D-D205F7EBB40B}"/>
          </ac:spMkLst>
        </pc:spChg>
        <pc:spChg chg="mod">
          <ac:chgData name="Alexandre Raynaud" userId="62013f2f-fa8b-4728-ba61-7c17181a1d4e" providerId="ADAL" clId="{5058CD52-6EC0-B04A-8E10-72B6337AC1D6}" dt="2021-04-08T14:16:56.114" v="376" actId="1076"/>
          <ac:spMkLst>
            <pc:docMk/>
            <pc:sldMk cId="2328823796" sldId="2146845403"/>
            <ac:spMk id="8" creationId="{4839194F-55BB-48D6-B0A3-D1882A635B2A}"/>
          </ac:spMkLst>
        </pc:spChg>
      </pc:sldChg>
      <pc:sldChg chg="modSp mod">
        <pc:chgData name="Alexandre Raynaud" userId="62013f2f-fa8b-4728-ba61-7c17181a1d4e" providerId="ADAL" clId="{5058CD52-6EC0-B04A-8E10-72B6337AC1D6}" dt="2021-04-08T14:17:08.760" v="390" actId="20577"/>
        <pc:sldMkLst>
          <pc:docMk/>
          <pc:sldMk cId="1008592238" sldId="2146845404"/>
        </pc:sldMkLst>
        <pc:spChg chg="mod">
          <ac:chgData name="Alexandre Raynaud" userId="62013f2f-fa8b-4728-ba61-7c17181a1d4e" providerId="ADAL" clId="{5058CD52-6EC0-B04A-8E10-72B6337AC1D6}" dt="2021-04-08T14:17:08.760" v="390" actId="20577"/>
          <ac:spMkLst>
            <pc:docMk/>
            <pc:sldMk cId="1008592238" sldId="2146845404"/>
            <ac:spMk id="5" creationId="{DE9EE307-EA92-4A21-A4AA-B9E6F29E31B7}"/>
          </ac:spMkLst>
        </pc:spChg>
      </pc:sldChg>
      <pc:sldChg chg="modSp new mod">
        <pc:chgData name="Alexandre Raynaud" userId="62013f2f-fa8b-4728-ba61-7c17181a1d4e" providerId="ADAL" clId="{5058CD52-6EC0-B04A-8E10-72B6337AC1D6}" dt="2021-04-08T11:29:23.338" v="200" actId="20577"/>
        <pc:sldMkLst>
          <pc:docMk/>
          <pc:sldMk cId="2368833147" sldId="2146845405"/>
        </pc:sldMkLst>
        <pc:spChg chg="mod">
          <ac:chgData name="Alexandre Raynaud" userId="62013f2f-fa8b-4728-ba61-7c17181a1d4e" providerId="ADAL" clId="{5058CD52-6EC0-B04A-8E10-72B6337AC1D6}" dt="2021-04-08T11:29:23.338" v="200" actId="20577"/>
          <ac:spMkLst>
            <pc:docMk/>
            <pc:sldMk cId="2368833147" sldId="2146845405"/>
            <ac:spMk id="2" creationId="{B7D441D3-FD51-7C44-8B2B-CDCCD45510CB}"/>
          </ac:spMkLst>
        </pc:spChg>
      </pc:sldChg>
    </pc:docChg>
  </pc:docChgLst>
  <pc:docChgLst>
    <pc:chgData name="Alexandre Raynaud" userId="S::alexandre.raynaud@veeva.com::62013f2f-fa8b-4728-ba61-7c17181a1d4e" providerId="AD" clId="Web-{DE9C30F8-2F9B-FA17-6CE5-242B79FF359C}"/>
    <pc:docChg chg="modSld">
      <pc:chgData name="Alexandre Raynaud" userId="S::alexandre.raynaud@veeva.com::62013f2f-fa8b-4728-ba61-7c17181a1d4e" providerId="AD" clId="Web-{DE9C30F8-2F9B-FA17-6CE5-242B79FF359C}" dt="2021-04-08T11:19:04.951" v="35" actId="20577"/>
      <pc:docMkLst>
        <pc:docMk/>
      </pc:docMkLst>
      <pc:sldChg chg="modSp">
        <pc:chgData name="Alexandre Raynaud" userId="S::alexandre.raynaud@veeva.com::62013f2f-fa8b-4728-ba61-7c17181a1d4e" providerId="AD" clId="Web-{DE9C30F8-2F9B-FA17-6CE5-242B79FF359C}" dt="2021-04-08T11:17:57.934" v="26" actId="20577"/>
        <pc:sldMkLst>
          <pc:docMk/>
          <pc:sldMk cId="2823647293" sldId="2146845349"/>
        </pc:sldMkLst>
        <pc:spChg chg="mod">
          <ac:chgData name="Alexandre Raynaud" userId="S::alexandre.raynaud@veeva.com::62013f2f-fa8b-4728-ba61-7c17181a1d4e" providerId="AD" clId="Web-{DE9C30F8-2F9B-FA17-6CE5-242B79FF359C}" dt="2021-04-08T11:17:57.934" v="26" actId="20577"/>
          <ac:spMkLst>
            <pc:docMk/>
            <pc:sldMk cId="2823647293" sldId="2146845349"/>
            <ac:spMk id="5" creationId="{3F702B9E-E230-47FB-A6FE-35BE071FA1AB}"/>
          </ac:spMkLst>
        </pc:spChg>
      </pc:sldChg>
      <pc:sldChg chg="modSp">
        <pc:chgData name="Alexandre Raynaud" userId="S::alexandre.raynaud@veeva.com::62013f2f-fa8b-4728-ba61-7c17181a1d4e" providerId="AD" clId="Web-{DE9C30F8-2F9B-FA17-6CE5-242B79FF359C}" dt="2021-04-08T11:18:24.435" v="28" actId="20577"/>
        <pc:sldMkLst>
          <pc:docMk/>
          <pc:sldMk cId="3989646346" sldId="2146845353"/>
        </pc:sldMkLst>
        <pc:spChg chg="mod">
          <ac:chgData name="Alexandre Raynaud" userId="S::alexandre.raynaud@veeva.com::62013f2f-fa8b-4728-ba61-7c17181a1d4e" providerId="AD" clId="Web-{DE9C30F8-2F9B-FA17-6CE5-242B79FF359C}" dt="2021-04-08T11:18:24.435" v="28" actId="20577"/>
          <ac:spMkLst>
            <pc:docMk/>
            <pc:sldMk cId="3989646346" sldId="2146845353"/>
            <ac:spMk id="9" creationId="{CA2453CB-0169-43ED-BA84-17E0C19F4A65}"/>
          </ac:spMkLst>
        </pc:spChg>
      </pc:sldChg>
      <pc:sldChg chg="modSp">
        <pc:chgData name="Alexandre Raynaud" userId="S::alexandre.raynaud@veeva.com::62013f2f-fa8b-4728-ba61-7c17181a1d4e" providerId="AD" clId="Web-{DE9C30F8-2F9B-FA17-6CE5-242B79FF359C}" dt="2021-04-08T11:19:04.951" v="35" actId="20577"/>
        <pc:sldMkLst>
          <pc:docMk/>
          <pc:sldMk cId="2328823796" sldId="2146845403"/>
        </pc:sldMkLst>
        <pc:spChg chg="mod">
          <ac:chgData name="Alexandre Raynaud" userId="S::alexandre.raynaud@veeva.com::62013f2f-fa8b-4728-ba61-7c17181a1d4e" providerId="AD" clId="Web-{DE9C30F8-2F9B-FA17-6CE5-242B79FF359C}" dt="2021-04-08T11:19:04.951" v="35" actId="20577"/>
          <ac:spMkLst>
            <pc:docMk/>
            <pc:sldMk cId="2328823796" sldId="2146845403"/>
            <ac:spMk id="8" creationId="{4839194F-55BB-48D6-B0A3-D1882A635B2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3A5EA3-FA9E-4162-85DC-2F713271A3F7}" type="datetimeFigureOut">
              <a:rPr lang="en-GB" smtClean="0"/>
              <a:t>08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14AA7F-0272-409C-9E64-2BE90C63DA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8051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#1</a:t>
            </a:r>
          </a:p>
          <a:p>
            <a:r>
              <a:rPr lang="en-CA"/>
              <a:t>Mavericks lowest priority as they will already try new things on their own.</a:t>
            </a:r>
          </a:p>
          <a:p>
            <a:r>
              <a:rPr lang="en-CA"/>
              <a:t>Pragmatists are using JAKs so we need to demonstrate that there is still a need for a new/different </a:t>
            </a:r>
            <a:r>
              <a:rPr lang="en-CA" err="1"/>
              <a:t>JAKi</a:t>
            </a:r>
            <a:endParaRPr lang="en-CA"/>
          </a:p>
          <a:p>
            <a:endParaRPr lang="en-CA"/>
          </a:p>
          <a:p>
            <a:r>
              <a:rPr lang="en-CA"/>
              <a:t>#2</a:t>
            </a:r>
          </a:p>
          <a:p>
            <a:r>
              <a:rPr lang="en-CA"/>
              <a:t>Mavericks are most likely be early adopters and also share their experience so we want to ensure they have early positive experience</a:t>
            </a:r>
          </a:p>
          <a:p>
            <a:r>
              <a:rPr lang="en-CA"/>
              <a:t>Pragmatists tend to bend the rules to solve problems, focusing on safety provides a strong reason to believe</a:t>
            </a:r>
          </a:p>
          <a:p>
            <a:r>
              <a:rPr lang="en-CA"/>
              <a:t>Compassionates will want to hear from and be reassured by peers so important to get the other two comfortable first</a:t>
            </a:r>
          </a:p>
          <a:p>
            <a:endParaRPr lang="en-CA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Mavericks third because they will try anyway and also form their own opinion</a:t>
            </a:r>
          </a:p>
          <a:p>
            <a:endParaRPr lang="en-CA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Compassionates last because they will wait to hear from M and P – so we need M and P on board and sharing their stories</a:t>
            </a:r>
          </a:p>
          <a:p>
            <a:endParaRPr lang="en-CA"/>
          </a:p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A5F5EB-E4E0-4709-9BD7-A22EE9051C1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541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6F030A-695A-4BD3-B391-3EED516F76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512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93045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637821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4219647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782045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05449443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8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65354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5687191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5255866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783226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286884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3192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04693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382083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37045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9954071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8" imgW="519" imgH="520" progId="TCLayout.ActiveDocument.1">
                  <p:embed/>
                </p:oleObj>
              </mc:Choice>
              <mc:Fallback>
                <p:oleObj name="think-cell Slide" r:id="rId18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veevasys.sharepoint.com/:x:/s/EuropeanBusinessConsulting/EY2IWn8gMcdCmkVw0m_e3ysBvFHqOZg1mOanIzOSMFkXew?e=J9gMhz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9.tiff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tiff"/><Relationship Id="rId5" Type="http://schemas.microsoft.com/office/2007/relationships/hdphoto" Target="../media/hdphoto2.wdp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60886EF2-2B26-4952-927D-59508706B5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545" y="3454101"/>
            <a:ext cx="10790187" cy="776287"/>
          </a:xfrm>
        </p:spPr>
        <p:txBody>
          <a:bodyPr/>
          <a:lstStyle/>
          <a:p>
            <a:r>
              <a:rPr lang="en-GB"/>
              <a:t>Building country specific Omnichannel HCP Journeys to support launch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6E84B6B-B86E-4849-AD54-227E2CC58E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>
                <a:ea typeface="ＭＳ Ｐゴシック"/>
              </a:rPr>
              <a:t>April 2021</a:t>
            </a:r>
          </a:p>
        </p:txBody>
      </p:sp>
    </p:spTree>
    <p:extLst>
      <p:ext uri="{BB962C8B-B14F-4D97-AF65-F5344CB8AC3E}">
        <p14:creationId xmlns:p14="http://schemas.microsoft.com/office/powerpoint/2010/main" val="2431007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if efficacy is not compromis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focus on unmet needs from a patient perspective – less from an HCP perspec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 on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oVid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impac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, but they will be interes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ose to full data incl safety, ref trusted peers/colleagues and hands on experienc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i="1">
                <a:solidFill>
                  <a:srgbClr val="000000"/>
                </a:solidFill>
              </a:rPr>
              <a:t>Message Topic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oA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: selectivity (vs 1G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mprehensive clinical evidence : 3 CT and long term data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trength of balance story : full strength with safety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 (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ps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 / to be localised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b="1" i="1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reinforce experience, share additional data freely, seed need to share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share/encourage patient feedback, patient perspectives, PIO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and patient types as experience is gained – give different ‘pegs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to lead to JAK of choice ‘peg’]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and </a:t>
            </a:r>
            <a:r>
              <a:rPr lang="en-US" sz="800" err="1">
                <a:solidFill>
                  <a:srgbClr val="000000"/>
                </a:solidFill>
              </a:rPr>
              <a:t>ptn</a:t>
            </a:r>
            <a:r>
              <a:rPr lang="en-US" sz="800">
                <a:solidFill>
                  <a:srgbClr val="000000"/>
                </a:solidFill>
              </a:rPr>
              <a:t> feedback to lead to JAK of choice ‘peg’ and 1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F547F53-2003-43CD-B782-D0A499EC877F}"/>
              </a:ext>
            </a:extLst>
          </p:cNvPr>
          <p:cNvSpPr/>
          <p:nvPr/>
        </p:nvSpPr>
        <p:spPr bwMode="auto">
          <a:xfrm>
            <a:off x="11555705" y="162164"/>
            <a:ext cx="527242" cy="5655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1</a:t>
            </a:r>
            <a:endParaRPr kumimoji="0" lang="en-GB" sz="20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CF4AE9-FDF3-2843-8523-0ABC97B8E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sz="2800"/>
              <a:t>Brand Content Asset catalogue sorted by HCP segment will be provided to you</a:t>
            </a:r>
          </a:p>
        </p:txBody>
      </p:sp>
      <p:pic>
        <p:nvPicPr>
          <p:cNvPr id="6" name="Picture 5">
            <a:hlinkClick r:id="rId2"/>
            <a:extLst>
              <a:ext uri="{FF2B5EF4-FFF2-40B4-BE49-F238E27FC236}">
                <a16:creationId xmlns:a16="http://schemas.microsoft.com/office/drawing/2014/main" id="{2473106F-5211-A544-9CEC-4881CB9FC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74240"/>
            <a:ext cx="12192000" cy="454494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29CE0FC-0A59-0A41-B362-5B6EDF76BFDB}"/>
              </a:ext>
            </a:extLst>
          </p:cNvPr>
          <p:cNvSpPr/>
          <p:nvPr/>
        </p:nvSpPr>
        <p:spPr bwMode="auto">
          <a:xfrm rot="1220544">
            <a:off x="10609943" y="1556796"/>
            <a:ext cx="1465943" cy="43166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FR" sz="2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Extract</a:t>
            </a:r>
          </a:p>
        </p:txBody>
      </p:sp>
    </p:spTree>
    <p:extLst>
      <p:ext uri="{BB962C8B-B14F-4D97-AF65-F5344CB8AC3E}">
        <p14:creationId xmlns:p14="http://schemas.microsoft.com/office/powerpoint/2010/main" val="2859557784"/>
      </p:ext>
    </p:extLst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e will use </a:t>
            </a:r>
            <a:r>
              <a:rPr lang="en-GB" err="1"/>
              <a:t>Custellence</a:t>
            </a:r>
            <a:r>
              <a:rPr lang="en-GB" baseline="30000"/>
              <a:t>®</a:t>
            </a:r>
            <a:r>
              <a:rPr lang="en-GB"/>
              <a:t> to build the journeys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5" y="203167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10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02AF15-6837-44AA-BC76-3C2B5E68696D}"/>
              </a:ext>
            </a:extLst>
          </p:cNvPr>
          <p:cNvSpPr txBox="1"/>
          <p:nvPr/>
        </p:nvSpPr>
        <p:spPr>
          <a:xfrm>
            <a:off x="6096000" y="2842771"/>
            <a:ext cx="5444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err="1"/>
              <a:t>Custellence</a:t>
            </a:r>
            <a:r>
              <a:rPr lang="en-GB" baseline="30000"/>
              <a:t>®</a:t>
            </a:r>
            <a:r>
              <a:rPr lang="en-GB"/>
              <a:t> is a simple, </a:t>
            </a:r>
            <a:r>
              <a:rPr lang="en-GB" b="1">
                <a:solidFill>
                  <a:schemeClr val="tx2"/>
                </a:solidFill>
              </a:rPr>
              <a:t>1-page journey creation tool</a:t>
            </a:r>
            <a:r>
              <a:rPr lang="en-GB"/>
              <a:t>, with collaboration functionality.</a:t>
            </a:r>
          </a:p>
          <a:p>
            <a:endParaRPr lang="en-GB"/>
          </a:p>
          <a:p>
            <a:r>
              <a:rPr lang="en-GB"/>
              <a:t>We are using </a:t>
            </a:r>
            <a:r>
              <a:rPr lang="en-GB" err="1"/>
              <a:t>Custellence</a:t>
            </a:r>
            <a:r>
              <a:rPr lang="en-GB" baseline="30000"/>
              <a:t> ®</a:t>
            </a:r>
            <a:r>
              <a:rPr lang="en-GB"/>
              <a:t> </a:t>
            </a:r>
            <a:r>
              <a:rPr lang="en-GB" b="1">
                <a:solidFill>
                  <a:schemeClr val="tx2"/>
                </a:solidFill>
              </a:rPr>
              <a:t>solely to help guide the creation of HCP Journeys</a:t>
            </a:r>
            <a:r>
              <a:rPr lang="en-GB"/>
              <a:t>, not for use in the orchestration or execution of journeys.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3EFA9C-A5BB-4CC5-ACC6-2C65EFBEC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1374476"/>
          </a:xfrm>
        </p:spPr>
        <p:txBody>
          <a:bodyPr/>
          <a:lstStyle/>
          <a:p>
            <a:r>
              <a:rPr lang="en-GB"/>
              <a:t>How do we get there: The HCP Journey Map</a:t>
            </a:r>
          </a:p>
        </p:txBody>
      </p:sp>
      <p:pic>
        <p:nvPicPr>
          <p:cNvPr id="4" name="Picture 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DB9F5E09-5BA4-40EB-BA82-081C7640C8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050"/>
          <a:stretch/>
        </p:blipFill>
        <p:spPr>
          <a:xfrm>
            <a:off x="209149" y="1125019"/>
            <a:ext cx="8916639" cy="5263987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F15127E9-7CCF-4490-8CEC-068BEE340245}"/>
              </a:ext>
            </a:extLst>
          </p:cNvPr>
          <p:cNvSpPr/>
          <p:nvPr/>
        </p:nvSpPr>
        <p:spPr bwMode="auto">
          <a:xfrm>
            <a:off x="11555705" y="162164"/>
            <a:ext cx="527242" cy="5655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>
                <a:solidFill>
                  <a:schemeClr val="accent1"/>
                </a:solidFill>
                <a:latin typeface="Tahoma" pitchFamily="-107" charset="0"/>
              </a:rPr>
              <a:t>2</a:t>
            </a:r>
            <a:endParaRPr kumimoji="0" lang="en-GB" sz="20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891D5E-682B-47B7-B523-30B91E2C858E}"/>
              </a:ext>
            </a:extLst>
          </p:cNvPr>
          <p:cNvSpPr/>
          <p:nvPr/>
        </p:nvSpPr>
        <p:spPr bwMode="auto">
          <a:xfrm>
            <a:off x="8194876" y="6007261"/>
            <a:ext cx="930912" cy="38174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DRAFT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946A98EC-82E2-4850-91D1-DF1F4362F07F}"/>
              </a:ext>
            </a:extLst>
          </p:cNvPr>
          <p:cNvSpPr/>
          <p:nvPr/>
        </p:nvSpPr>
        <p:spPr bwMode="auto">
          <a:xfrm>
            <a:off x="9524010" y="1125019"/>
            <a:ext cx="2458841" cy="565547"/>
          </a:xfrm>
          <a:prstGeom prst="wedgeRoundRectCallout">
            <a:avLst>
              <a:gd name="adj1" fmla="val -65749"/>
              <a:gd name="adj2" fmla="val -3874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Structured by Adoption Ladder Stage</a:t>
            </a:r>
            <a:endParaRPr kumimoji="0" lang="en-GB" sz="1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18" name="Speech Bubble: Rectangle with Corners Rounded 17">
            <a:extLst>
              <a:ext uri="{FF2B5EF4-FFF2-40B4-BE49-F238E27FC236}">
                <a16:creationId xmlns:a16="http://schemas.microsoft.com/office/drawing/2014/main" id="{D1D45904-C5F2-477C-87E8-A8A39C6D0B4D}"/>
              </a:ext>
            </a:extLst>
          </p:cNvPr>
          <p:cNvSpPr/>
          <p:nvPr/>
        </p:nvSpPr>
        <p:spPr bwMode="auto">
          <a:xfrm>
            <a:off x="9524009" y="2147874"/>
            <a:ext cx="2458841" cy="1531809"/>
          </a:xfrm>
          <a:prstGeom prst="wedgeRoundRectCallout">
            <a:avLst>
              <a:gd name="adj1" fmla="val -72510"/>
              <a:gd name="adj2" fmla="val 37522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Entry Point Scenario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Tahoma" pitchFamily="-107" charset="0"/>
              </a:rPr>
              <a:t>Different entry-points (e.g. Existing Relationship, Digital-only) necessitate specified journeys</a:t>
            </a:r>
          </a:p>
        </p:txBody>
      </p:sp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CDB8A2EA-798B-4165-91CA-629994127AD1}"/>
              </a:ext>
            </a:extLst>
          </p:cNvPr>
          <p:cNvSpPr/>
          <p:nvPr/>
        </p:nvSpPr>
        <p:spPr bwMode="auto">
          <a:xfrm>
            <a:off x="9524009" y="4475452"/>
            <a:ext cx="2458841" cy="1531809"/>
          </a:xfrm>
          <a:prstGeom prst="wedgeRoundRectCallout">
            <a:avLst>
              <a:gd name="adj1" fmla="val -97625"/>
              <a:gd name="adj2" fmla="val -42328"/>
              <a:gd name="adj3" fmla="val 16667"/>
            </a:avLst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>
                <a:solidFill>
                  <a:schemeClr val="bg1"/>
                </a:solidFill>
                <a:latin typeface="Tahoma" pitchFamily="-107" charset="0"/>
              </a:rPr>
              <a:t>Content Box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Tahoma" pitchFamily="-107" charset="0"/>
              </a:rPr>
              <a:t>Each box represents assets, selected and organized with the goal of moving an HCP up the adoption ladder.</a:t>
            </a:r>
          </a:p>
        </p:txBody>
      </p:sp>
    </p:spTree>
    <p:extLst>
      <p:ext uri="{BB962C8B-B14F-4D97-AF65-F5344CB8AC3E}">
        <p14:creationId xmlns:p14="http://schemas.microsoft.com/office/powerpoint/2010/main" val="68717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BECBB82-9CB1-CF4E-8F27-F1C8B645D9B4}"/>
              </a:ext>
            </a:extLst>
          </p:cNvPr>
          <p:cNvSpPr txBox="1"/>
          <p:nvPr/>
        </p:nvSpPr>
        <p:spPr>
          <a:xfrm>
            <a:off x="4239808" y="5933722"/>
            <a:ext cx="718530" cy="338554"/>
          </a:xfrm>
          <a:prstGeom prst="rect">
            <a:avLst/>
          </a:prstGeom>
          <a:noFill/>
          <a:ln w="25400">
            <a:noFill/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600"/>
              <a:t>T</a:t>
            </a:r>
            <a:r>
              <a:rPr lang="en-FR" sz="1600"/>
              <a:t>oda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56AF9E-61B9-0C4F-AC9C-A2D33BDE4990}"/>
              </a:ext>
            </a:extLst>
          </p:cNvPr>
          <p:cNvCxnSpPr>
            <a:cxnSpLocks/>
            <a:stCxn id="4" idx="0"/>
          </p:cNvCxnSpPr>
          <p:nvPr/>
        </p:nvCxnSpPr>
        <p:spPr bwMode="auto">
          <a:xfrm flipV="1">
            <a:off x="4599073" y="1523216"/>
            <a:ext cx="0" cy="441050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roject plan detail</a:t>
            </a:r>
          </a:p>
        </p:txBody>
      </p:sp>
      <p:sp>
        <p:nvSpPr>
          <p:cNvPr id="19" name="Pentagon 26">
            <a:extLst>
              <a:ext uri="{FF2B5EF4-FFF2-40B4-BE49-F238E27FC236}">
                <a16:creationId xmlns:a16="http://schemas.microsoft.com/office/drawing/2014/main" id="{8A0A97E2-4D79-4050-BA87-BDC743D68E76}"/>
              </a:ext>
            </a:extLst>
          </p:cNvPr>
          <p:cNvSpPr/>
          <p:nvPr/>
        </p:nvSpPr>
        <p:spPr bwMode="auto">
          <a:xfrm>
            <a:off x="1597572" y="1670025"/>
            <a:ext cx="2039760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omer Journey Foundations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B9F6AF6-8D70-457B-9D1B-573B6BD9C74D}"/>
              </a:ext>
            </a:extLst>
          </p:cNvPr>
          <p:cNvGraphicFramePr>
            <a:graphicFrameLocks noGrp="1"/>
          </p:cNvGraphicFramePr>
          <p:nvPr/>
        </p:nvGraphicFramePr>
        <p:xfrm>
          <a:off x="650836" y="1066015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9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2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9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6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0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17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24</a:t>
                      </a:r>
                      <a:r>
                        <a:rPr lang="en-US" sz="800" baseline="3000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22" name="Pentagon 64">
            <a:extLst>
              <a:ext uri="{FF2B5EF4-FFF2-40B4-BE49-F238E27FC236}">
                <a16:creationId xmlns:a16="http://schemas.microsoft.com/office/drawing/2014/main" id="{8D411DFD-C624-48F0-84F2-D4E6CACA4804}"/>
              </a:ext>
            </a:extLst>
          </p:cNvPr>
          <p:cNvSpPr/>
          <p:nvPr/>
        </p:nvSpPr>
        <p:spPr bwMode="auto">
          <a:xfrm>
            <a:off x="6455263" y="1662968"/>
            <a:ext cx="3556837" cy="55726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</a:t>
            </a:r>
            <a:r>
              <a:rPr lang="en-US" sz="800" b="1">
                <a:solidFill>
                  <a:prstClr val="white"/>
                </a:solidFill>
                <a:latin typeface="Tahoma" pitchFamily="-107" charset="0"/>
              </a:rPr>
              <a:t>l</a:t>
            </a: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caliz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of RA/IBD Customer Journeys for large countries</a:t>
            </a:r>
          </a:p>
        </p:txBody>
      </p:sp>
      <p:sp>
        <p:nvSpPr>
          <p:cNvPr id="32" name="Pentagon 52">
            <a:extLst>
              <a:ext uri="{FF2B5EF4-FFF2-40B4-BE49-F238E27FC236}">
                <a16:creationId xmlns:a16="http://schemas.microsoft.com/office/drawing/2014/main" id="{2AD1B1AA-AE9F-413C-9E8B-A9DA170D7422}"/>
              </a:ext>
            </a:extLst>
          </p:cNvPr>
          <p:cNvSpPr/>
          <p:nvPr/>
        </p:nvSpPr>
        <p:spPr bwMode="auto">
          <a:xfrm>
            <a:off x="10129705" y="1653015"/>
            <a:ext cx="1508101" cy="55726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ocalisation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for smaller markets</a:t>
            </a:r>
          </a:p>
        </p:txBody>
      </p:sp>
      <p:sp>
        <p:nvSpPr>
          <p:cNvPr id="39" name="Pentagon 67">
            <a:extLst>
              <a:ext uri="{FF2B5EF4-FFF2-40B4-BE49-F238E27FC236}">
                <a16:creationId xmlns:a16="http://schemas.microsoft.com/office/drawing/2014/main" id="{5F06B8C1-6334-48D6-9096-EDAF05BC53C9}"/>
              </a:ext>
            </a:extLst>
          </p:cNvPr>
          <p:cNvSpPr/>
          <p:nvPr/>
        </p:nvSpPr>
        <p:spPr bwMode="auto">
          <a:xfrm>
            <a:off x="3669522" y="1662968"/>
            <a:ext cx="2493545" cy="541520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</a:t>
            </a:r>
            <a:r>
              <a:rPr kumimoji="0" lang="en-US" sz="800" b="1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ternation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A/IBD Customer Journ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C2E54E-2B73-4E31-9FA9-9C5D7842F532}"/>
              </a:ext>
            </a:extLst>
          </p:cNvPr>
          <p:cNvSpPr/>
          <p:nvPr/>
        </p:nvSpPr>
        <p:spPr bwMode="auto">
          <a:xfrm>
            <a:off x="1502322" y="2415372"/>
            <a:ext cx="976952" cy="6326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9F7CD2-0F5F-4CCB-9879-6D8FEAE71CAB}"/>
              </a:ext>
            </a:extLst>
          </p:cNvPr>
          <p:cNvSpPr/>
          <p:nvPr/>
        </p:nvSpPr>
        <p:spPr bwMode="auto">
          <a:xfrm>
            <a:off x="2561809" y="2415372"/>
            <a:ext cx="976952" cy="8139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+ 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570103-8944-445D-A7E1-288ECA395315}"/>
              </a:ext>
            </a:extLst>
          </p:cNvPr>
          <p:cNvSpPr/>
          <p:nvPr/>
        </p:nvSpPr>
        <p:spPr bwMode="auto">
          <a:xfrm>
            <a:off x="3705315" y="2415372"/>
            <a:ext cx="2457752" cy="967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Core Team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International</a:t>
            </a: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project team +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 2 </a:t>
            </a:r>
            <a:r>
              <a:rPr kumimoji="0" lang="en-GB" sz="105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Tahoma" pitchFamily="-107" charset="0"/>
              </a:rPr>
              <a:t>Market Representativ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E400FF-D866-407C-9B4D-6F61A221E34C}"/>
              </a:ext>
            </a:extLst>
          </p:cNvPr>
          <p:cNvSpPr txBox="1"/>
          <p:nvPr/>
        </p:nvSpPr>
        <p:spPr>
          <a:xfrm>
            <a:off x="1450690" y="5032549"/>
            <a:ext cx="1012547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Journey Templates &amp; Framework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2F16ECA-C932-47B8-A94C-C5AF01A22259}"/>
              </a:ext>
            </a:extLst>
          </p:cNvPr>
          <p:cNvSpPr txBox="1"/>
          <p:nvPr/>
        </p:nvSpPr>
        <p:spPr>
          <a:xfrm>
            <a:off x="2561809" y="5032549"/>
            <a:ext cx="976952" cy="78483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Draft Adoption Pathways &amp; Customer Journey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87020AB-EAFC-4C70-93D2-E2351ED87F33}"/>
              </a:ext>
            </a:extLst>
          </p:cNvPr>
          <p:cNvSpPr txBox="1"/>
          <p:nvPr/>
        </p:nvSpPr>
        <p:spPr>
          <a:xfrm>
            <a:off x="3637332" y="5054667"/>
            <a:ext cx="2060771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Populated International Adoption Journey + International Customer Journey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5B49105-BE2D-484F-B23F-9452B0B05A6F}"/>
              </a:ext>
            </a:extLst>
          </p:cNvPr>
          <p:cNvSpPr txBox="1"/>
          <p:nvPr/>
        </p:nvSpPr>
        <p:spPr>
          <a:xfrm>
            <a:off x="5866633" y="5054667"/>
            <a:ext cx="5774930" cy="762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defRPr>
            </a:lvl1pPr>
          </a:lstStyle>
          <a:p>
            <a:r>
              <a:rPr lang="en-GB">
                <a:solidFill>
                  <a:schemeClr val="bg1"/>
                </a:solidFill>
              </a:rPr>
              <a:t>Local Adoption Journeys &amp; Customer Journeys</a:t>
            </a:r>
          </a:p>
          <a:p>
            <a:r>
              <a:rPr lang="en-GB">
                <a:solidFill>
                  <a:schemeClr val="bg1"/>
                </a:solidFill>
              </a:rPr>
              <a:t>+</a:t>
            </a:r>
          </a:p>
          <a:p>
            <a:r>
              <a:rPr lang="en-GB">
                <a:solidFill>
                  <a:schemeClr val="bg1"/>
                </a:solidFill>
              </a:rPr>
              <a:t>Training &amp; eLearning modu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93FF3-1B69-431E-A0FF-F2132331F232}"/>
              </a:ext>
            </a:extLst>
          </p:cNvPr>
          <p:cNvSpPr txBox="1"/>
          <p:nvPr/>
        </p:nvSpPr>
        <p:spPr>
          <a:xfrm>
            <a:off x="222072" y="2447194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Tea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9D122D3-078D-4CE8-8FCD-A48366839A82}"/>
              </a:ext>
            </a:extLst>
          </p:cNvPr>
          <p:cNvSpPr txBox="1"/>
          <p:nvPr/>
        </p:nvSpPr>
        <p:spPr>
          <a:xfrm>
            <a:off x="219741" y="5286328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Output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1420446-F9C7-448C-9F59-3491767B2A08}"/>
              </a:ext>
            </a:extLst>
          </p:cNvPr>
          <p:cNvSpPr txBox="1"/>
          <p:nvPr/>
        </p:nvSpPr>
        <p:spPr>
          <a:xfrm>
            <a:off x="204117" y="3819911"/>
            <a:ext cx="1230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2"/>
                </a:solidFill>
              </a:rPr>
              <a:t>Forma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E2304E0-6B0F-4C2F-B07F-BF7D43612F36}"/>
              </a:ext>
            </a:extLst>
          </p:cNvPr>
          <p:cNvSpPr txBox="1"/>
          <p:nvPr/>
        </p:nvSpPr>
        <p:spPr>
          <a:xfrm>
            <a:off x="6455263" y="3742967"/>
            <a:ext cx="5186299" cy="95410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/>
              <a:t>W</a:t>
            </a:r>
            <a:r>
              <a:rPr lang="en-FR" sz="1400"/>
              <a:t>e will be facilitating multiple </a:t>
            </a:r>
            <a:r>
              <a:rPr lang="en-FR" sz="1400" u="sng"/>
              <a:t>workshops</a:t>
            </a:r>
            <a:r>
              <a:rPr lang="en-FR" sz="1400"/>
              <a:t> within your countries </a:t>
            </a:r>
          </a:p>
          <a:p>
            <a:pPr algn="ctr"/>
            <a:r>
              <a:rPr lang="en-FR" sz="1400"/>
              <a:t>to support the development of your local CJ </a:t>
            </a:r>
          </a:p>
          <a:p>
            <a:pPr algn="ctr"/>
            <a:endParaRPr lang="en-FR" sz="1400"/>
          </a:p>
          <a:p>
            <a:pPr algn="ctr"/>
            <a:r>
              <a:rPr lang="en-FR" sz="1400" b="1">
                <a:solidFill>
                  <a:schemeClr val="tx2"/>
                </a:solidFill>
              </a:rPr>
              <a:t>Countries</a:t>
            </a:r>
            <a:r>
              <a:rPr lang="en-FR" sz="1400"/>
              <a:t>: 2-3x two-hour workshops</a:t>
            </a:r>
            <a:r>
              <a:rPr lang="en-GB" sz="1400"/>
              <a:t>, </a:t>
            </a:r>
            <a:endParaRPr lang="en-FR" sz="14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5D71AC-F402-48E5-9B16-A7CC32084B72}"/>
              </a:ext>
            </a:extLst>
          </p:cNvPr>
          <p:cNvSpPr txBox="1"/>
          <p:nvPr/>
        </p:nvSpPr>
        <p:spPr>
          <a:xfrm>
            <a:off x="1454900" y="3742967"/>
            <a:ext cx="2083861" cy="6617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400"/>
          </a:p>
          <a:p>
            <a:pPr lvl="0" algn="ctr"/>
            <a:r>
              <a:rPr lang="en-GB" sz="1200">
                <a:solidFill>
                  <a:srgbClr val="000000"/>
                </a:solidFill>
              </a:rPr>
              <a:t>4 x 2-hour session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FBE066-63AC-4AB8-BA55-C3927AA0790F}"/>
              </a:ext>
            </a:extLst>
          </p:cNvPr>
          <p:cNvSpPr txBox="1"/>
          <p:nvPr/>
        </p:nvSpPr>
        <p:spPr>
          <a:xfrm>
            <a:off x="3647958" y="3742967"/>
            <a:ext cx="2493545" cy="79252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Working sessions</a:t>
            </a:r>
          </a:p>
          <a:p>
            <a:pPr algn="ctr"/>
            <a:endParaRPr lang="en-GB" sz="1050" b="1">
              <a:solidFill>
                <a:schemeClr val="tx2"/>
              </a:solidFill>
            </a:endParaRP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IBD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</a:p>
          <a:p>
            <a:pPr algn="ctr"/>
            <a:r>
              <a:rPr lang="en-GB" sz="1200" b="1">
                <a:solidFill>
                  <a:schemeClr val="tx2"/>
                </a:solidFill>
              </a:rPr>
              <a:t>RA</a:t>
            </a:r>
            <a:r>
              <a:rPr lang="en-GB" sz="1200"/>
              <a:t>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2 x 2-hour sessions</a:t>
            </a:r>
            <a:endParaRPr lang="en-FR" sz="12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B416E53-6DCF-CF4D-9699-B56488B46029}"/>
              </a:ext>
            </a:extLst>
          </p:cNvPr>
          <p:cNvSpPr/>
          <p:nvPr/>
        </p:nvSpPr>
        <p:spPr bwMode="auto">
          <a:xfrm>
            <a:off x="6455263" y="2904295"/>
            <a:ext cx="2568117" cy="3230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UK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06122C8-CAA8-844F-B5E5-99CE9C1718A1}"/>
              </a:ext>
            </a:extLst>
          </p:cNvPr>
          <p:cNvSpPr/>
          <p:nvPr/>
        </p:nvSpPr>
        <p:spPr bwMode="auto">
          <a:xfrm>
            <a:off x="5213270" y="3454665"/>
            <a:ext cx="3810110" cy="2164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Germany (RA&amp;IBD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C33ACEF-8A9E-7E41-B92C-84F2EBFAE955}"/>
              </a:ext>
            </a:extLst>
          </p:cNvPr>
          <p:cNvSpPr/>
          <p:nvPr/>
        </p:nvSpPr>
        <p:spPr bwMode="auto">
          <a:xfrm>
            <a:off x="10129705" y="3213807"/>
            <a:ext cx="1800000" cy="202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Spain (RA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EFEF420-AE55-DC42-887C-DC93CA4F8AC9}"/>
              </a:ext>
            </a:extLst>
          </p:cNvPr>
          <p:cNvSpPr/>
          <p:nvPr/>
        </p:nvSpPr>
        <p:spPr bwMode="auto">
          <a:xfrm>
            <a:off x="10129759" y="3461497"/>
            <a:ext cx="1800000" cy="202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Italy (RA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1F49AE-9365-5544-B91B-3009D96CE79D}"/>
              </a:ext>
            </a:extLst>
          </p:cNvPr>
          <p:cNvSpPr/>
          <p:nvPr/>
        </p:nvSpPr>
        <p:spPr bwMode="auto">
          <a:xfrm>
            <a:off x="10140757" y="2939618"/>
            <a:ext cx="1508101" cy="202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 err="1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BelLux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68E4893-38A1-5E49-867D-CE3F27C824FA}"/>
              </a:ext>
            </a:extLst>
          </p:cNvPr>
          <p:cNvSpPr/>
          <p:nvPr/>
        </p:nvSpPr>
        <p:spPr bwMode="auto">
          <a:xfrm>
            <a:off x="10140757" y="2677872"/>
            <a:ext cx="1508101" cy="202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NL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210958-E53F-4741-8B8D-158D67D286FA}"/>
              </a:ext>
            </a:extLst>
          </p:cNvPr>
          <p:cNvSpPr/>
          <p:nvPr/>
        </p:nvSpPr>
        <p:spPr bwMode="auto">
          <a:xfrm>
            <a:off x="7888055" y="2288892"/>
            <a:ext cx="2568113" cy="3275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05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France </a:t>
            </a:r>
            <a:r>
              <a:rPr lang="en-GB" sz="1050" b="1">
                <a:solidFill>
                  <a:schemeClr val="accent1"/>
                </a:solidFill>
                <a:latin typeface="Tahoma" pitchFamily="-107" charset="0"/>
              </a:rPr>
              <a:t>(RA)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Tahoma" pitchFamily="-107" charset="0"/>
            </a:endParaRPr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2DFBACDA-A42E-4F4C-AAE1-E91A625C522D}"/>
              </a:ext>
            </a:extLst>
          </p:cNvPr>
          <p:cNvSpPr/>
          <p:nvPr/>
        </p:nvSpPr>
        <p:spPr bwMode="auto">
          <a:xfrm rot="682741">
            <a:off x="6399275" y="2750457"/>
            <a:ext cx="274320" cy="274320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6" name="Star: 5 Points 35">
            <a:extLst>
              <a:ext uri="{FF2B5EF4-FFF2-40B4-BE49-F238E27FC236}">
                <a16:creationId xmlns:a16="http://schemas.microsoft.com/office/drawing/2014/main" id="{7A1EE0E6-D47E-4033-BE00-750B3DD43879}"/>
              </a:ext>
            </a:extLst>
          </p:cNvPr>
          <p:cNvSpPr/>
          <p:nvPr/>
        </p:nvSpPr>
        <p:spPr bwMode="auto">
          <a:xfrm rot="682741">
            <a:off x="5105007" y="3371135"/>
            <a:ext cx="274320" cy="274320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653C53B1-C8A3-4980-8B7F-8FF6BA08881A}"/>
              </a:ext>
            </a:extLst>
          </p:cNvPr>
          <p:cNvSpPr/>
          <p:nvPr/>
        </p:nvSpPr>
        <p:spPr bwMode="auto">
          <a:xfrm rot="682741">
            <a:off x="7912420" y="6177090"/>
            <a:ext cx="274320" cy="274320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0A9A7E-39F9-4955-8CDE-0095EC0B11C1}"/>
              </a:ext>
            </a:extLst>
          </p:cNvPr>
          <p:cNvSpPr txBox="1"/>
          <p:nvPr/>
        </p:nvSpPr>
        <p:spPr>
          <a:xfrm>
            <a:off x="8100147" y="6198777"/>
            <a:ext cx="2118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/>
              <a:t>Market Introduction Meeting</a:t>
            </a:r>
            <a:endParaRPr lang="en-GB" sz="1200" i="1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E6D2913-8388-46A1-A418-A308F980BBA3}"/>
              </a:ext>
            </a:extLst>
          </p:cNvPr>
          <p:cNvSpPr/>
          <p:nvPr/>
        </p:nvSpPr>
        <p:spPr bwMode="auto">
          <a:xfrm>
            <a:off x="8028226" y="2498118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68D4DA9-9A2D-4F90-8147-EC230E733CBB}"/>
              </a:ext>
            </a:extLst>
          </p:cNvPr>
          <p:cNvSpPr/>
          <p:nvPr/>
        </p:nvSpPr>
        <p:spPr bwMode="auto">
          <a:xfrm>
            <a:off x="9084572" y="2498118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8838902-71BD-43EC-BD67-EF6461D5B54C}"/>
              </a:ext>
            </a:extLst>
          </p:cNvPr>
          <p:cNvSpPr/>
          <p:nvPr/>
        </p:nvSpPr>
        <p:spPr bwMode="auto">
          <a:xfrm>
            <a:off x="10364728" y="2498118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180F9B2-A62E-4D42-A639-2EF9AAFA067E}"/>
              </a:ext>
            </a:extLst>
          </p:cNvPr>
          <p:cNvSpPr/>
          <p:nvPr/>
        </p:nvSpPr>
        <p:spPr bwMode="auto">
          <a:xfrm>
            <a:off x="7982506" y="6598191"/>
            <a:ext cx="137160" cy="1371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A2E00D-2BB4-4F60-B23B-D68E0AC8E8B6}"/>
              </a:ext>
            </a:extLst>
          </p:cNvPr>
          <p:cNvSpPr txBox="1"/>
          <p:nvPr/>
        </p:nvSpPr>
        <p:spPr>
          <a:xfrm>
            <a:off x="8100147" y="6495037"/>
            <a:ext cx="2118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/>
              <a:t>Scheduled Market Workshop</a:t>
            </a:r>
            <a:endParaRPr lang="en-GB" sz="1200" i="1"/>
          </a:p>
        </p:txBody>
      </p:sp>
    </p:spTree>
    <p:extLst>
      <p:ext uri="{BB962C8B-B14F-4D97-AF65-F5344CB8AC3E}">
        <p14:creationId xmlns:p14="http://schemas.microsoft.com/office/powerpoint/2010/main" val="660608739"/>
      </p:ext>
    </p:extLst>
  </p:cSld>
  <p:clrMapOvr>
    <a:masterClrMapping/>
  </p:clrMapOvr>
  <p:transition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7FB43C7-3743-4C2B-B93A-C25DBF29CBBF}"/>
              </a:ext>
            </a:extLst>
          </p:cNvPr>
          <p:cNvSpPr/>
          <p:nvPr/>
        </p:nvSpPr>
        <p:spPr bwMode="auto">
          <a:xfrm>
            <a:off x="8155913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55A534C-DF22-4620-9D35-AA3203667A1B}"/>
              </a:ext>
            </a:extLst>
          </p:cNvPr>
          <p:cNvSpPr/>
          <p:nvPr/>
        </p:nvSpPr>
        <p:spPr bwMode="auto">
          <a:xfrm>
            <a:off x="415695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15475E-2A7D-46BC-BCDE-B45CB0505594}"/>
              </a:ext>
            </a:extLst>
          </p:cNvPr>
          <p:cNvSpPr/>
          <p:nvPr/>
        </p:nvSpPr>
        <p:spPr bwMode="auto">
          <a:xfrm>
            <a:off x="176219" y="204787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ngagement with a </a:t>
            </a:r>
            <a:r>
              <a:rPr lang="en-GB">
                <a:solidFill>
                  <a:schemeClr val="accent1"/>
                </a:solidFill>
              </a:rPr>
              <a:t>FR/UK/DE/ES/IT</a:t>
            </a:r>
            <a:br>
              <a:rPr lang="en-GB">
                <a:solidFill>
                  <a:schemeClr val="accent1"/>
                </a:solidFill>
              </a:rPr>
            </a:b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35A8DE-07A9-418A-B119-E3CB9E870AF1}"/>
              </a:ext>
            </a:extLst>
          </p:cNvPr>
          <p:cNvSpPr/>
          <p:nvPr/>
        </p:nvSpPr>
        <p:spPr bwMode="auto">
          <a:xfrm>
            <a:off x="17622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C642F-ABC3-427E-A5D9-8D798C8DE36C}"/>
              </a:ext>
            </a:extLst>
          </p:cNvPr>
          <p:cNvSpPr/>
          <p:nvPr/>
        </p:nvSpPr>
        <p:spPr bwMode="auto">
          <a:xfrm>
            <a:off x="4150167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9E40CE-F815-48AC-B214-6DCC5D0138B5}"/>
              </a:ext>
            </a:extLst>
          </p:cNvPr>
          <p:cNvSpPr/>
          <p:nvPr/>
        </p:nvSpPr>
        <p:spPr bwMode="auto">
          <a:xfrm>
            <a:off x="8152690" y="143827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D8980B-4745-4368-A574-9A8179EA04FC}"/>
              </a:ext>
            </a:extLst>
          </p:cNvPr>
          <p:cNvSpPr txBox="1"/>
          <p:nvPr/>
        </p:nvSpPr>
        <p:spPr>
          <a:xfrm>
            <a:off x="176219" y="2095738"/>
            <a:ext cx="3776655" cy="4078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Customer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events calendar and content plans and prior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localise the global adoption ladder, and to localise the international HCP journey against key market events, channels and goal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nalis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raft of local HCP journey created leveraging potential existing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85F1BC-94CB-4CAF-8F2B-7261301986B6}"/>
              </a:ext>
            </a:extLst>
          </p:cNvPr>
          <p:cNvSpPr txBox="1"/>
          <p:nvPr/>
        </p:nvSpPr>
        <p:spPr>
          <a:xfrm>
            <a:off x="4156959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1 on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iterat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Updated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F74245-4CF0-4C47-8648-48BB6278A61B}"/>
              </a:ext>
            </a:extLst>
          </p:cNvPr>
          <p:cNvSpPr txBox="1"/>
          <p:nvPr/>
        </p:nvSpPr>
        <p:spPr>
          <a:xfrm>
            <a:off x="8191144" y="209573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teration #2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finalis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Final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F5D37-22FC-4C85-B999-7CA42838EAE7}"/>
              </a:ext>
            </a:extLst>
          </p:cNvPr>
          <p:cNvSpPr txBox="1"/>
          <p:nvPr/>
        </p:nvSpPr>
        <p:spPr>
          <a:xfrm>
            <a:off x="3305175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263A06-EFBA-4821-BBB1-7484146C1056}"/>
              </a:ext>
            </a:extLst>
          </p:cNvPr>
          <p:cNvSpPr txBox="1"/>
          <p:nvPr/>
        </p:nvSpPr>
        <p:spPr>
          <a:xfrm>
            <a:off x="731114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7B9F82-7386-4428-B146-7AFC8C51F717}"/>
              </a:ext>
            </a:extLst>
          </p:cNvPr>
          <p:cNvSpPr txBox="1"/>
          <p:nvPr/>
        </p:nvSpPr>
        <p:spPr>
          <a:xfrm>
            <a:off x="11320100" y="152400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BC03B-16C8-467F-89D9-A9CEC6BCABAA}"/>
              </a:ext>
            </a:extLst>
          </p:cNvPr>
          <p:cNvSpPr txBox="1"/>
          <p:nvPr/>
        </p:nvSpPr>
        <p:spPr>
          <a:xfrm>
            <a:off x="2886074" y="6292617"/>
            <a:ext cx="685980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solidFill>
                  <a:schemeClr val="bg2"/>
                </a:solidFill>
              </a:rPr>
              <a:t>For UK &amp; Germany, where both RA &amp; IBD journeys are being created, the workshops will be run in parallel in separate groups for each indication, </a:t>
            </a:r>
            <a:r>
              <a:rPr lang="en-GB" sz="1200" b="1">
                <a:solidFill>
                  <a:schemeClr val="bg2"/>
                </a:solidFill>
              </a:rPr>
              <a:t>with the outputs being entirely specific</a:t>
            </a:r>
            <a:r>
              <a:rPr lang="en-GB" sz="1200">
                <a:solidFill>
                  <a:schemeClr val="bg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2602961"/>
      </p:ext>
    </p:extLst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555A534C-DF22-4620-9D35-AA3203667A1B}"/>
              </a:ext>
            </a:extLst>
          </p:cNvPr>
          <p:cNvSpPr/>
          <p:nvPr/>
        </p:nvSpPr>
        <p:spPr bwMode="auto">
          <a:xfrm>
            <a:off x="5690484" y="217771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15475E-2A7D-46BC-BCDE-B45CB0505594}"/>
              </a:ext>
            </a:extLst>
          </p:cNvPr>
          <p:cNvSpPr/>
          <p:nvPr/>
        </p:nvSpPr>
        <p:spPr bwMode="auto">
          <a:xfrm>
            <a:off x="1709744" y="2177715"/>
            <a:ext cx="3824638" cy="408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ngagement with a </a:t>
            </a:r>
            <a:r>
              <a:rPr lang="en-GB">
                <a:solidFill>
                  <a:schemeClr val="accent1"/>
                </a:solidFill>
              </a:rPr>
              <a:t>NL/BNL</a:t>
            </a:r>
            <a:br>
              <a:rPr lang="en-GB">
                <a:solidFill>
                  <a:schemeClr val="accent1"/>
                </a:solidFill>
              </a:rPr>
            </a:b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35A8DE-07A9-418A-B119-E3CB9E870AF1}"/>
              </a:ext>
            </a:extLst>
          </p:cNvPr>
          <p:cNvSpPr/>
          <p:nvPr/>
        </p:nvSpPr>
        <p:spPr bwMode="auto">
          <a:xfrm>
            <a:off x="1709745" y="156811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C642F-ABC3-427E-A5D9-8D798C8DE36C}"/>
              </a:ext>
            </a:extLst>
          </p:cNvPr>
          <p:cNvSpPr/>
          <p:nvPr/>
        </p:nvSpPr>
        <p:spPr bwMode="auto">
          <a:xfrm>
            <a:off x="5683692" y="1568115"/>
            <a:ext cx="3853565" cy="561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Workshop 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D8980B-4745-4368-A574-9A8179EA04FC}"/>
              </a:ext>
            </a:extLst>
          </p:cNvPr>
          <p:cNvSpPr txBox="1"/>
          <p:nvPr/>
        </p:nvSpPr>
        <p:spPr>
          <a:xfrm>
            <a:off x="1709744" y="2244628"/>
            <a:ext cx="3776655" cy="3893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adoption ladd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Internation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ocal events calendar and content pla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ourneys produce</a:t>
            </a:r>
            <a:r>
              <a:rPr lang="en-GB" sz="1200">
                <a:solidFill>
                  <a:srgbClr val="000000"/>
                </a:solidFill>
                <a:latin typeface="Tahoma"/>
              </a:rPr>
              <a:t>d in 2020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localise the global adoption ladder, and localising the international HCP journey against key market events, channels and goal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Journey finalis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pdated local HCP journey creat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AF5D37-22FC-4C85-B999-7CA42838EAE7}"/>
              </a:ext>
            </a:extLst>
          </p:cNvPr>
          <p:cNvSpPr txBox="1"/>
          <p:nvPr/>
        </p:nvSpPr>
        <p:spPr>
          <a:xfrm>
            <a:off x="4838700" y="165384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6263A06-EFBA-4821-BBB1-7484146C1056}"/>
              </a:ext>
            </a:extLst>
          </p:cNvPr>
          <p:cNvSpPr txBox="1"/>
          <p:nvPr/>
        </p:nvSpPr>
        <p:spPr>
          <a:xfrm>
            <a:off x="8844665" y="1653840"/>
            <a:ext cx="64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2h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C193D7-F76B-434B-9EB9-3DB5021E4D67}"/>
              </a:ext>
            </a:extLst>
          </p:cNvPr>
          <p:cNvSpPr txBox="1"/>
          <p:nvPr/>
        </p:nvSpPr>
        <p:spPr>
          <a:xfrm>
            <a:off x="1728794" y="1204585"/>
            <a:ext cx="3295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eek 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5B44F0E-351A-4450-903F-4DE3848D7D3C}"/>
              </a:ext>
            </a:extLst>
          </p:cNvPr>
          <p:cNvSpPr txBox="1"/>
          <p:nvPr/>
        </p:nvSpPr>
        <p:spPr>
          <a:xfrm>
            <a:off x="5721792" y="1204585"/>
            <a:ext cx="3295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eek 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2F2821-22B4-4016-A27B-E63FC6FB4BDC}"/>
              </a:ext>
            </a:extLst>
          </p:cNvPr>
          <p:cNvSpPr txBox="1"/>
          <p:nvPr/>
        </p:nvSpPr>
        <p:spPr>
          <a:xfrm>
            <a:off x="5690484" y="2244628"/>
            <a:ext cx="3776655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Who:</a:t>
            </a:r>
            <a:r>
              <a:rPr lang="en-GB" sz="1200" b="1">
                <a:solidFill>
                  <a:schemeClr val="accent1"/>
                </a:solidFill>
                <a:latin typeface="Tahoma"/>
              </a:rPr>
              <a:t> </a:t>
            </a:r>
            <a:r>
              <a:rPr lang="en-GB" sz="1050">
                <a:solidFill>
                  <a:schemeClr val="bg2"/>
                </a:solidFill>
                <a:latin typeface="Tahoma"/>
              </a:rPr>
              <a:t>(propos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Tahoma"/>
              </a:rPr>
              <a:t>The core team + </a:t>
            </a:r>
            <a:r>
              <a:rPr lang="en-GB" sz="1200" b="1">
                <a:latin typeface="Tahoma"/>
              </a:rPr>
              <a:t>Local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latin typeface="Tahoma"/>
              </a:rPr>
              <a:t>Local team to include the required stakeholders to ensure accurate Journey development (Marketing / Medical / Sales)</a:t>
            </a:r>
            <a:endParaRPr kumimoji="0" lang="en-GB" sz="11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1">
              <a:solidFill>
                <a:srgbClr val="000000"/>
              </a:solidFill>
              <a:latin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In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Local adoption ladder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shop 2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Activity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Working session to finalise the local HCP journey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en-GB" sz="1200">
              <a:solidFill>
                <a:srgbClr val="000000"/>
              </a:solidFill>
              <a:latin typeface="Tahoma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GB" sz="1200" b="1">
                <a:solidFill>
                  <a:schemeClr val="tx2"/>
                </a:solidFill>
                <a:latin typeface="Tahoma"/>
              </a:rPr>
              <a:t>Output: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000000"/>
                </a:solidFill>
                <a:latin typeface="Tahoma"/>
              </a:rPr>
              <a:t>Final version of the local HCP journe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72075"/>
      </p:ext>
    </p:extLst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6B8909-FF79-41D3-801E-B48FFDB302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954675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4F8ECA-D489-A44B-AFC7-17D26DC8A2B4}"/>
              </a:ext>
            </a:extLst>
          </p:cNvPr>
          <p:cNvGraphicFramePr>
            <a:graphicFrameLocks noGrp="1"/>
          </p:cNvGraphicFramePr>
          <p:nvPr/>
        </p:nvGraphicFramePr>
        <p:xfrm>
          <a:off x="676050" y="1067430"/>
          <a:ext cx="10990727" cy="4572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99157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999157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139367">
                <a:tc gridSpan="3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rch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131168">
                <a:tc>
                  <a:txBody>
                    <a:bodyPr/>
                    <a:lstStyle/>
                    <a:p>
                      <a:r>
                        <a:rPr lang="en-US" sz="800"/>
                        <a:t>15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2st (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5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2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9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6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3</a:t>
                      </a:r>
                      <a:r>
                        <a:rPr lang="en-US" sz="800" baseline="30000"/>
                        <a:t>rd</a:t>
                      </a:r>
                      <a:r>
                        <a:rPr lang="en-US" sz="800"/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0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17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24</a:t>
                      </a:r>
                      <a:r>
                        <a:rPr lang="en-US" sz="800" baseline="30000"/>
                        <a:t>th</a:t>
                      </a:r>
                      <a:r>
                        <a:rPr lang="en-US" sz="800"/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4651922F-4B51-2744-97C4-80B142B493DE}"/>
              </a:ext>
            </a:extLst>
          </p:cNvPr>
          <p:cNvSpPr/>
          <p:nvPr/>
        </p:nvSpPr>
        <p:spPr bwMode="auto">
          <a:xfrm>
            <a:off x="676051" y="1811020"/>
            <a:ext cx="530514" cy="42868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825DBC4-A225-5348-9D94-603D0244D7B5}"/>
              </a:ext>
            </a:extLst>
          </p:cNvPr>
          <p:cNvSpPr/>
          <p:nvPr/>
        </p:nvSpPr>
        <p:spPr>
          <a:xfrm rot="16200000">
            <a:off x="459186" y="3629330"/>
            <a:ext cx="9156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bilizati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Pentagon 98">
            <a:extLst>
              <a:ext uri="{FF2B5EF4-FFF2-40B4-BE49-F238E27FC236}">
                <a16:creationId xmlns:a16="http://schemas.microsoft.com/office/drawing/2014/main" id="{E57A9237-81CC-CB4E-8B92-C9BBFA9DB2CA}"/>
              </a:ext>
            </a:extLst>
          </p:cNvPr>
          <p:cNvSpPr/>
          <p:nvPr/>
        </p:nvSpPr>
        <p:spPr bwMode="auto">
          <a:xfrm>
            <a:off x="1598407" y="2254012"/>
            <a:ext cx="1170527" cy="5491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undations for HCP J Maps</a:t>
            </a:r>
          </a:p>
        </p:txBody>
      </p:sp>
      <p:sp>
        <p:nvSpPr>
          <p:cNvPr id="100" name="Pentagon 99">
            <a:extLst>
              <a:ext uri="{FF2B5EF4-FFF2-40B4-BE49-F238E27FC236}">
                <a16:creationId xmlns:a16="http://schemas.microsoft.com/office/drawing/2014/main" id="{5B10FC7B-98D0-464D-B807-C30BC6A249E0}"/>
              </a:ext>
            </a:extLst>
          </p:cNvPr>
          <p:cNvSpPr/>
          <p:nvPr/>
        </p:nvSpPr>
        <p:spPr bwMode="auto">
          <a:xfrm>
            <a:off x="5764845" y="2231615"/>
            <a:ext cx="4028005" cy="603559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c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ed Localization of HJ Maps for France, Germany, UK, Spain, Italy</a:t>
            </a:r>
          </a:p>
        </p:txBody>
      </p:sp>
      <p:sp>
        <p:nvSpPr>
          <p:cNvPr id="101" name="Pentagon 100">
            <a:extLst>
              <a:ext uri="{FF2B5EF4-FFF2-40B4-BE49-F238E27FC236}">
                <a16:creationId xmlns:a16="http://schemas.microsoft.com/office/drawing/2014/main" id="{363CEB98-04D9-B64E-8A23-3FFED688099C}"/>
              </a:ext>
            </a:extLst>
          </p:cNvPr>
          <p:cNvSpPr/>
          <p:nvPr/>
        </p:nvSpPr>
        <p:spPr bwMode="auto">
          <a:xfrm>
            <a:off x="9879761" y="2231613"/>
            <a:ext cx="1787016" cy="635046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hase 1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solidFill>
                  <a:prstClr val="white"/>
                </a:solidFill>
                <a:latin typeface="Tahoma" pitchFamily="-107" charset="0"/>
              </a:rPr>
              <a:t>Finalize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Localization of HJ for NL and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Lux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12" name="Pentagon 111">
            <a:extLst>
              <a:ext uri="{FF2B5EF4-FFF2-40B4-BE49-F238E27FC236}">
                <a16:creationId xmlns:a16="http://schemas.microsoft.com/office/drawing/2014/main" id="{25D60DC7-E694-294A-B72B-5B9DB4A63D54}"/>
              </a:ext>
            </a:extLst>
          </p:cNvPr>
          <p:cNvSpPr/>
          <p:nvPr/>
        </p:nvSpPr>
        <p:spPr bwMode="auto">
          <a:xfrm>
            <a:off x="2822077" y="2231612"/>
            <a:ext cx="2910577" cy="571591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1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&amp; Test Regional HJ Maps</a:t>
            </a:r>
          </a:p>
        </p:txBody>
      </p:sp>
      <p:sp>
        <p:nvSpPr>
          <p:cNvPr id="127" name="Pentagon 126">
            <a:extLst>
              <a:ext uri="{FF2B5EF4-FFF2-40B4-BE49-F238E27FC236}">
                <a16:creationId xmlns:a16="http://schemas.microsoft.com/office/drawing/2014/main" id="{75F895FA-58DD-A84A-B048-E99C97A77CEE}"/>
              </a:ext>
            </a:extLst>
          </p:cNvPr>
          <p:cNvSpPr/>
          <p:nvPr/>
        </p:nvSpPr>
        <p:spPr bwMode="auto">
          <a:xfrm>
            <a:off x="3785866" y="3253155"/>
            <a:ext cx="3954602" cy="529957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fine Alignment between CJ Maps &amp; CRM/CDP</a:t>
            </a:r>
          </a:p>
        </p:txBody>
      </p:sp>
      <p:sp>
        <p:nvSpPr>
          <p:cNvPr id="128" name="Pentagon 127">
            <a:extLst>
              <a:ext uri="{FF2B5EF4-FFF2-40B4-BE49-F238E27FC236}">
                <a16:creationId xmlns:a16="http://schemas.microsoft.com/office/drawing/2014/main" id="{B09FCCF1-AB04-7743-B930-EC8438F196AD}"/>
              </a:ext>
            </a:extLst>
          </p:cNvPr>
          <p:cNvSpPr/>
          <p:nvPr/>
        </p:nvSpPr>
        <p:spPr bwMode="auto">
          <a:xfrm>
            <a:off x="7742688" y="3253156"/>
            <a:ext cx="3954602" cy="565146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hase 2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action plan to operationalize alig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77B83-9A23-4943-9FB2-639B9DAC37EA}"/>
              </a:ext>
            </a:extLst>
          </p:cNvPr>
          <p:cNvSpPr txBox="1"/>
          <p:nvPr/>
        </p:nvSpPr>
        <p:spPr>
          <a:xfrm>
            <a:off x="1520584" y="1895279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ate Customer journey map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323C571-727D-F644-AA30-B3528BC270B7}"/>
              </a:ext>
            </a:extLst>
          </p:cNvPr>
          <p:cNvSpPr txBox="1"/>
          <p:nvPr/>
        </p:nvSpPr>
        <p:spPr>
          <a:xfrm>
            <a:off x="3665528" y="2913935"/>
            <a:ext cx="5011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ign maps with CRM/CDP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6626543-F1A8-D347-906B-51151E7A0708}"/>
              </a:ext>
            </a:extLst>
          </p:cNvPr>
          <p:cNvSpPr txBox="1"/>
          <p:nvPr/>
        </p:nvSpPr>
        <p:spPr>
          <a:xfrm>
            <a:off x="7631485" y="4081019"/>
            <a:ext cx="4425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 HCP journey map understan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52C82A-CADD-B44F-8869-E51B2B5E4292}"/>
              </a:ext>
            </a:extLst>
          </p:cNvPr>
          <p:cNvSpPr txBox="1"/>
          <p:nvPr/>
        </p:nvSpPr>
        <p:spPr>
          <a:xfrm>
            <a:off x="1198206" y="210123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3D696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49A74098-46F8-0547-A786-C55D22DCBAA3}"/>
              </a:ext>
            </a:extLst>
          </p:cNvPr>
          <p:cNvSpPr txBox="1"/>
          <p:nvPr/>
        </p:nvSpPr>
        <p:spPr>
          <a:xfrm>
            <a:off x="3298373" y="3164190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6A6587F8-CAD7-D240-83B1-1515651C6FFB}"/>
              </a:ext>
            </a:extLst>
          </p:cNvPr>
          <p:cNvSpPr txBox="1"/>
          <p:nvPr/>
        </p:nvSpPr>
        <p:spPr>
          <a:xfrm>
            <a:off x="7258460" y="4339879"/>
            <a:ext cx="4863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54A0E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139" name="Pentagon 138">
            <a:extLst>
              <a:ext uri="{FF2B5EF4-FFF2-40B4-BE49-F238E27FC236}">
                <a16:creationId xmlns:a16="http://schemas.microsoft.com/office/drawing/2014/main" id="{794EBA07-A093-8C4F-8809-89E39E96BF22}"/>
              </a:ext>
            </a:extLst>
          </p:cNvPr>
          <p:cNvSpPr/>
          <p:nvPr/>
        </p:nvSpPr>
        <p:spPr bwMode="auto">
          <a:xfrm>
            <a:off x="676050" y="1573510"/>
            <a:ext cx="10929399" cy="2371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oject Management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B3C854-2C8C-E64C-8A2C-401A58940AF6}"/>
              </a:ext>
            </a:extLst>
          </p:cNvPr>
          <p:cNvGrpSpPr/>
          <p:nvPr/>
        </p:nvGrpSpPr>
        <p:grpSpPr>
          <a:xfrm>
            <a:off x="7744843" y="4471012"/>
            <a:ext cx="3933593" cy="1494400"/>
            <a:chOff x="7688283" y="4875180"/>
            <a:chExt cx="3933593" cy="1149916"/>
          </a:xfrm>
        </p:grpSpPr>
        <p:sp>
          <p:nvSpPr>
            <p:cNvPr id="142" name="Pentagon 141">
              <a:extLst>
                <a:ext uri="{FF2B5EF4-FFF2-40B4-BE49-F238E27FC236}">
                  <a16:creationId xmlns:a16="http://schemas.microsoft.com/office/drawing/2014/main" id="{0BA9552A-91A9-8140-89E3-D19FCABA6C29}"/>
                </a:ext>
              </a:extLst>
            </p:cNvPr>
            <p:cNvSpPr/>
            <p:nvPr/>
          </p:nvSpPr>
          <p:spPr bwMode="auto">
            <a:xfrm>
              <a:off x="7688283" y="4875180"/>
              <a:ext cx="1827200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Tactic Plan</a:t>
              </a:r>
            </a:p>
          </p:txBody>
        </p:sp>
        <p:sp>
          <p:nvSpPr>
            <p:cNvPr id="143" name="Pentagon 142">
              <a:extLst>
                <a:ext uri="{FF2B5EF4-FFF2-40B4-BE49-F238E27FC236}">
                  <a16:creationId xmlns:a16="http://schemas.microsoft.com/office/drawing/2014/main" id="{A169BDF8-30C9-384C-9CD3-AED0AC9874F3}"/>
                </a:ext>
              </a:extLst>
            </p:cNvPr>
            <p:cNvSpPr/>
            <p:nvPr/>
          </p:nvSpPr>
          <p:spPr bwMode="auto">
            <a:xfrm>
              <a:off x="7688283" y="5283183"/>
              <a:ext cx="3933593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b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Build e-learning module </a:t>
              </a:r>
            </a:p>
          </p:txBody>
        </p:sp>
        <p:sp>
          <p:nvSpPr>
            <p:cNvPr id="149" name="Pentagon 148">
              <a:extLst>
                <a:ext uri="{FF2B5EF4-FFF2-40B4-BE49-F238E27FC236}">
                  <a16:creationId xmlns:a16="http://schemas.microsoft.com/office/drawing/2014/main" id="{EE7C38F3-3488-A94A-B79C-1F20839D38ED}"/>
                </a:ext>
              </a:extLst>
            </p:cNvPr>
            <p:cNvSpPr/>
            <p:nvPr/>
          </p:nvSpPr>
          <p:spPr bwMode="auto">
            <a:xfrm>
              <a:off x="8632900" y="5682198"/>
              <a:ext cx="2988976" cy="342898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Phase 3c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-107" charset="0"/>
                  <a:ea typeface="+mn-ea"/>
                  <a:cs typeface="+mn-cs"/>
                </a:rPr>
                <a:t>Train the Trainer (CJ Market Champions)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A6B69B2F-62FB-4415-9C95-B41C7CAAD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/>
          <a:lstStyle/>
          <a:p>
            <a:r>
              <a:rPr lang="en-GB"/>
              <a:t>Project Phases</a:t>
            </a:r>
          </a:p>
        </p:txBody>
      </p:sp>
    </p:spTree>
    <p:extLst>
      <p:ext uri="{BB962C8B-B14F-4D97-AF65-F5344CB8AC3E}">
        <p14:creationId xmlns:p14="http://schemas.microsoft.com/office/powerpoint/2010/main" val="216405364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469" y="251772"/>
            <a:ext cx="10623061" cy="1374476"/>
          </a:xfrm>
        </p:spPr>
        <p:txBody>
          <a:bodyPr/>
          <a:lstStyle/>
          <a:p>
            <a:r>
              <a:rPr lang="en-GB" sz="3200"/>
              <a:t>An experienced Veeva team will helps us achieve our goals and will be supporting yo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010E9C-E809-4605-8997-0298ECD22D57}"/>
              </a:ext>
            </a:extLst>
          </p:cNvPr>
          <p:cNvSpPr/>
          <p:nvPr/>
        </p:nvSpPr>
        <p:spPr>
          <a:xfrm>
            <a:off x="771356" y="3599988"/>
            <a:ext cx="1971417" cy="2254463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ings deep LS Expertise and 8+ years defining Commercial Strategy and Operating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uisa has worked with large enterprise Pharma in defining </a:t>
            </a:r>
            <a:r>
              <a:rPr lang="en-US" sz="900">
                <a:solidFill>
                  <a:srgbClr val="646569"/>
                </a:solidFill>
                <a:latin typeface="Calibri"/>
              </a:rPr>
              <a:t>and executing on Commercial and Medical models including omni-channel orchestration and go to market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 mod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 to joining Veeva she worked at EY and Accenture consulting where she worked in the US and Europe on complex multi geography / functional LS teams. Clients include Astellas, AZ, BMS, Takeda, Merck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355907-C882-4B99-A890-9A060B6249E5}"/>
              </a:ext>
            </a:extLst>
          </p:cNvPr>
          <p:cNvSpPr/>
          <p:nvPr/>
        </p:nvSpPr>
        <p:spPr>
          <a:xfrm>
            <a:off x="575114" y="1750242"/>
            <a:ext cx="8332705" cy="4268820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B3D435-2DD6-430F-8F16-6FF7BC6F641E}"/>
              </a:ext>
            </a:extLst>
          </p:cNvPr>
          <p:cNvSpPr txBox="1"/>
          <p:nvPr/>
        </p:nvSpPr>
        <p:spPr>
          <a:xfrm>
            <a:off x="713949" y="3140752"/>
            <a:ext cx="1872000" cy="44281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uisa Peacock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9E1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eva Lea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4520D0-60EE-4762-9A36-8968709B4932}"/>
              </a:ext>
            </a:extLst>
          </p:cNvPr>
          <p:cNvSpPr/>
          <p:nvPr/>
        </p:nvSpPr>
        <p:spPr>
          <a:xfrm>
            <a:off x="9184122" y="1750242"/>
            <a:ext cx="2513698" cy="4268820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5FAE929-8A27-467F-A5A8-BD4C2C1BBDED}"/>
              </a:ext>
            </a:extLst>
          </p:cNvPr>
          <p:cNvSpPr/>
          <p:nvPr/>
        </p:nvSpPr>
        <p:spPr>
          <a:xfrm>
            <a:off x="9693114" y="1645979"/>
            <a:ext cx="1260000" cy="208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E</a:t>
            </a: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6" descr="Profile photo of Aaron Bean">
            <a:extLst>
              <a:ext uri="{FF2B5EF4-FFF2-40B4-BE49-F238E27FC236}">
                <a16:creationId xmlns:a16="http://schemas.microsoft.com/office/drawing/2014/main" id="{62E8C10C-979B-4008-935C-C05CDC48E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8971" y="1884761"/>
            <a:ext cx="1224000" cy="1224000"/>
          </a:xfrm>
          <a:prstGeom prst="ellipse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F234D3B-8BC1-43F4-8185-95440B712F46}"/>
              </a:ext>
            </a:extLst>
          </p:cNvPr>
          <p:cNvSpPr txBox="1"/>
          <p:nvPr/>
        </p:nvSpPr>
        <p:spPr>
          <a:xfrm>
            <a:off x="9479241" y="3153761"/>
            <a:ext cx="2008774" cy="608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aron Be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9E1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P, Business Consulting Lead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rope BC Hea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26664A1-1A7E-4F66-A1C6-B1CDEB42BA83}"/>
              </a:ext>
            </a:extLst>
          </p:cNvPr>
          <p:cNvSpPr/>
          <p:nvPr/>
        </p:nvSpPr>
        <p:spPr>
          <a:xfrm>
            <a:off x="9508432" y="3811719"/>
            <a:ext cx="1872000" cy="1415772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aron leads Veeva's European Business Consulting Practice and specializes in commercial excellence, innovation and digital transformation. enabling clients to design and deliver world class customer experience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 brings over 18+ years' experience, prior to Veeva, Aaron was the Life Sciences Advisory Lead in EY UK.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DD3BB7B-8F22-4EF3-8A5B-95BFEEA38D20}"/>
              </a:ext>
            </a:extLst>
          </p:cNvPr>
          <p:cNvSpPr/>
          <p:nvPr/>
        </p:nvSpPr>
        <p:spPr>
          <a:xfrm>
            <a:off x="2961817" y="3599988"/>
            <a:ext cx="1728598" cy="2115964"/>
          </a:xfrm>
          <a:prstGeom prst="rect">
            <a:avLst/>
          </a:prstGeom>
          <a:noFill/>
        </p:spPr>
        <p:txBody>
          <a:bodyPr wrap="square" lIns="72000" tIns="45720" rIns="0" bIns="45720" rtlCol="0" anchor="t">
            <a:spAutoFit/>
          </a:bodyPr>
          <a:lstStyle/>
          <a:p>
            <a:pPr>
              <a:spcBef>
                <a:spcPts val="600"/>
              </a:spcBef>
              <a:buClr>
                <a:srgbClr val="FF9E16"/>
              </a:buClr>
            </a:pPr>
            <a:r>
              <a:rPr lang="en-US" sz="1050" b="1" i="1">
                <a:solidFill>
                  <a:srgbClr val="E7E6E6">
                    <a:lumMod val="50000"/>
                  </a:srgbClr>
                </a:solidFill>
              </a:rPr>
              <a:t>Brings expertise in designing Customer journeys with Galapagos Fr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xandre Leads Veeva's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usiness Consulting Practice in France and specialises in commercial excellence, innovation and digital transformation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 brings 15 years' experience in marketing and sales functions both at affiliate and global level, working across the drug lifecycle and 7 therapeutic areas, including at Lilly.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27CD7A-2B07-43B0-9F63-C0C05D7BD82F}"/>
              </a:ext>
            </a:extLst>
          </p:cNvPr>
          <p:cNvSpPr txBox="1"/>
          <p:nvPr/>
        </p:nvSpPr>
        <p:spPr>
          <a:xfrm>
            <a:off x="2911613" y="3140752"/>
            <a:ext cx="20087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xandre Rayna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9E1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J Architect</a:t>
            </a:r>
          </a:p>
        </p:txBody>
      </p:sp>
      <p:pic>
        <p:nvPicPr>
          <p:cNvPr id="35" name="Picture 34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F8847C43-44E8-4688-BA1D-35414CAF2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4000" y="1887386"/>
            <a:ext cx="1224000" cy="1224000"/>
          </a:xfrm>
          <a:prstGeom prst="ellipse">
            <a:avLst/>
          </a:prstGeom>
          <a:ln>
            <a:noFill/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8F84524-D0E6-4A9D-9327-25522B887F2D}"/>
              </a:ext>
            </a:extLst>
          </p:cNvPr>
          <p:cNvSpPr txBox="1"/>
          <p:nvPr/>
        </p:nvSpPr>
        <p:spPr>
          <a:xfrm>
            <a:off x="7069854" y="3140752"/>
            <a:ext cx="1872000" cy="442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x Richwood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9E1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Consulta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8E0211A-E230-4C28-91F3-60764D6B542F}"/>
              </a:ext>
            </a:extLst>
          </p:cNvPr>
          <p:cNvSpPr txBox="1"/>
          <p:nvPr/>
        </p:nvSpPr>
        <p:spPr>
          <a:xfrm>
            <a:off x="4987450" y="3140752"/>
            <a:ext cx="1872000" cy="442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reth Allot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9E1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 Manag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7D32C64-BC87-4B4C-8B4D-5DD2D2E33937}"/>
              </a:ext>
            </a:extLst>
          </p:cNvPr>
          <p:cNvSpPr txBox="1"/>
          <p:nvPr/>
        </p:nvSpPr>
        <p:spPr>
          <a:xfrm>
            <a:off x="4999613" y="3599988"/>
            <a:ext cx="1872000" cy="2139047"/>
          </a:xfrm>
          <a:prstGeom prst="rect">
            <a:avLst/>
          </a:prstGeom>
          <a:noFill/>
        </p:spPr>
        <p:txBody>
          <a:bodyPr wrap="square" r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ings extensive experience designing and operationalizing Commercial Mod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reth has deep experience in the execution of omni-channel and leads on engagements across Europe in Field Force optimization and Veeva Pulse.  being passionate about providing data driven insigh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 to joining Veeva Gareth worked in Accenture consulting’s HLS practice, leading multi market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oba</a:t>
            </a:r>
            <a:r>
              <a:rPr lang="en-US" sz="900">
                <a:solidFill>
                  <a:srgbClr val="646569"/>
                </a:solidFill>
                <a:latin typeface="Calibri"/>
              </a:rPr>
              <a:t>l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ercial  program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731194A-9C62-44F7-BA59-619AA7B511D9}"/>
              </a:ext>
            </a:extLst>
          </p:cNvPr>
          <p:cNvSpPr txBox="1"/>
          <p:nvPr/>
        </p:nvSpPr>
        <p:spPr>
          <a:xfrm>
            <a:off x="7204122" y="3599988"/>
            <a:ext cx="1636703" cy="2192908"/>
          </a:xfrm>
          <a:prstGeom prst="rect">
            <a:avLst/>
          </a:prstGeom>
          <a:noFill/>
        </p:spPr>
        <p:txBody>
          <a:bodyPr wrap="square" r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ings Field Force sizing, modelling and analytic cap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x has joined Veeva having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ntly completed an MBA at HEC Pari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 has supported projects in sales force efficiency and optimization, providing market research, data and analytic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E16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x joined Veeva to help define and enable the new model for the future in LS.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A685A85-CDCF-4B91-B97D-2F0D09D1AFBA}"/>
              </a:ext>
            </a:extLst>
          </p:cNvPr>
          <p:cNvSpPr/>
          <p:nvPr/>
        </p:nvSpPr>
        <p:spPr>
          <a:xfrm>
            <a:off x="4110387" y="1607701"/>
            <a:ext cx="1620000" cy="208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E DELIVERY TEAM</a:t>
            </a: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7DFA62F-CE38-4159-BA05-5D0650A92F85}"/>
              </a:ext>
            </a:extLst>
          </p:cNvPr>
          <p:cNvGrpSpPr/>
          <p:nvPr/>
        </p:nvGrpSpPr>
        <p:grpSpPr>
          <a:xfrm>
            <a:off x="7371174" y="1839761"/>
            <a:ext cx="1260000" cy="1260000"/>
            <a:chOff x="5194336" y="1549783"/>
            <a:chExt cx="1260000" cy="126000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0FF96C5-49FB-42CE-8124-22D06A9B86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4336" y="1549783"/>
              <a:ext cx="1260000" cy="1260000"/>
            </a:xfrm>
            <a:prstGeom prst="ellipse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3" name="Picture 42" descr="A person in a suit&#10;&#10;Description automatically generated with low confidence">
              <a:extLst>
                <a:ext uri="{FF2B5EF4-FFF2-40B4-BE49-F238E27FC236}">
                  <a16:creationId xmlns:a16="http://schemas.microsoft.com/office/drawing/2014/main" id="{231527D1-4615-4DC0-92FC-7F999ED94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13416" y="1564183"/>
              <a:ext cx="1231200" cy="1231200"/>
            </a:xfrm>
            <a:prstGeom prst="ellipse">
              <a:avLst/>
            </a:prstGeom>
            <a:ln>
              <a:noFill/>
            </a:ln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681A875B-DF85-4E41-8F19-FFE190165E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9389" y="1839761"/>
            <a:ext cx="1392448" cy="1314000"/>
          </a:xfrm>
          <a:prstGeom prst="ellipse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C256EB8-03BF-40E2-8267-9E5D4E483B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0827" y="1920936"/>
            <a:ext cx="1254164" cy="119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2376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DAD1C34-7C80-455B-95E3-E0A303A4629C}"/>
              </a:ext>
            </a:extLst>
          </p:cNvPr>
          <p:cNvSpPr/>
          <p:nvPr/>
        </p:nvSpPr>
        <p:spPr bwMode="auto">
          <a:xfrm>
            <a:off x="0" y="1565487"/>
            <a:ext cx="12191999" cy="36155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HCP Journeys Projec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702B9E-E230-47FB-A6FE-35BE071FA1AB}"/>
              </a:ext>
            </a:extLst>
          </p:cNvPr>
          <p:cNvSpPr txBox="1"/>
          <p:nvPr/>
        </p:nvSpPr>
        <p:spPr>
          <a:xfrm>
            <a:off x="693911" y="1983168"/>
            <a:ext cx="8870267" cy="255454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Jyseleca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 currently has a foundation of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rial"/>
                <a:cs typeface="arial"/>
              </a:rPr>
              <a:t>strategic planning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related to customer engagement activities for launch, including detaile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rial"/>
                <a:cs typeface="arial"/>
              </a:rPr>
              <a:t>segmentation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 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rial"/>
                <a:cs typeface="arial"/>
              </a:rPr>
              <a:t>market research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0212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A core team with the support of Veeva, are now focused on </a:t>
            </a:r>
            <a:r>
              <a:rPr kumimoji="0" lang="en-GB" sz="2000" b="0" i="1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making the plan a reality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, by converting these foundations into HCP Journeys that ar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rial"/>
                <a:cs typeface="arial"/>
              </a:rPr>
              <a:t>practical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 an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arial"/>
                <a:cs typeface="arial"/>
              </a:rPr>
              <a:t>actionable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/>
                <a:cs typeface="arial"/>
              </a:rPr>
              <a:t>at the local level</a:t>
            </a:r>
            <a:r>
              <a:rPr lang="en-GB" sz="2000">
                <a:solidFill>
                  <a:srgbClr val="202124"/>
                </a:solidFill>
                <a:latin typeface="arial"/>
                <a:cs typeface="arial"/>
              </a:rPr>
              <a:t> </a:t>
            </a:r>
            <a:r>
              <a:rPr lang="en-GB" sz="2000" b="1">
                <a:solidFill>
                  <a:srgbClr val="00463E"/>
                </a:solidFill>
                <a:latin typeface="arial"/>
                <a:cs typeface="arial"/>
              </a:rPr>
              <a:t>to secure competitive share of voice and achieve a successful launch</a:t>
            </a:r>
            <a:r>
              <a:rPr lang="en-GB" sz="2000">
                <a:solidFill>
                  <a:srgbClr val="202124"/>
                </a:solidFill>
                <a:latin typeface="arial"/>
                <a:cs typeface="arial"/>
              </a:rPr>
              <a:t>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" name="Graphic 8" descr="Workflow with solid fill">
            <a:extLst>
              <a:ext uri="{FF2B5EF4-FFF2-40B4-BE49-F238E27FC236}">
                <a16:creationId xmlns:a16="http://schemas.microsoft.com/office/drawing/2014/main" id="{360C96CA-E312-495A-80EB-A8561477DF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64179" y="2376122"/>
            <a:ext cx="1781907" cy="178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64729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/>
              <a:t>Journey Mapping enables the visualisation of a target HCP exper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9542C2-A2A3-4DA5-9804-0958B9C3C45C}"/>
              </a:ext>
            </a:extLst>
          </p:cNvPr>
          <p:cNvSpPr txBox="1"/>
          <p:nvPr/>
        </p:nvSpPr>
        <p:spPr>
          <a:xfrm>
            <a:off x="7606857" y="1463330"/>
            <a:ext cx="3741168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Uncover </a:t>
            </a:r>
            <a:r>
              <a:rPr lang="en-US" sz="1200" b="1">
                <a:solidFill>
                  <a:schemeClr val="accent5">
                    <a:lumMod val="60000"/>
                    <a:lumOff val="40000"/>
                  </a:schemeClr>
                </a:solidFill>
              </a:rPr>
              <a:t>behavioral segments by analyzing HCP data</a:t>
            </a:r>
            <a:r>
              <a:rPr lang="en-US" sz="1200"/>
              <a:t> across touchpoints over tim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accent5">
                    <a:lumMod val="60000"/>
                    <a:lumOff val="40000"/>
                  </a:schemeClr>
                </a:solidFill>
              </a:rPr>
              <a:t>Measure the impact of HCP behavior</a:t>
            </a:r>
            <a:r>
              <a:rPr lang="en-US" sz="1200"/>
              <a:t> on KP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2453CB-0169-43ED-BA84-17E0C19F4A65}"/>
              </a:ext>
            </a:extLst>
          </p:cNvPr>
          <p:cNvSpPr txBox="1"/>
          <p:nvPr/>
        </p:nvSpPr>
        <p:spPr>
          <a:xfrm>
            <a:off x="8337068" y="2924017"/>
            <a:ext cx="3214019" cy="1461939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accent1"/>
                </a:solidFill>
              </a:rPr>
              <a:t>Ideate and communicate journeys for </a:t>
            </a:r>
            <a:r>
              <a:rPr lang="en-US" sz="1200" b="1" err="1">
                <a:solidFill>
                  <a:schemeClr val="accent1"/>
                </a:solidFill>
              </a:rPr>
              <a:t>Jyseleca</a:t>
            </a:r>
            <a:r>
              <a:rPr lang="en-US" sz="1200" b="1">
                <a:solidFill>
                  <a:schemeClr val="accent1"/>
                </a:solidFill>
              </a:rPr>
              <a:t> </a:t>
            </a:r>
            <a:r>
              <a:rPr lang="en-US" sz="1200"/>
              <a:t>to become more HCP centric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Create a </a:t>
            </a:r>
            <a:r>
              <a:rPr lang="en-US" sz="1200" b="1">
                <a:solidFill>
                  <a:schemeClr val="accent1"/>
                </a:solidFill>
              </a:rPr>
              <a:t>visualization of your HCP experience across touchpoints over time</a:t>
            </a:r>
            <a:r>
              <a:rPr lang="en-US" sz="1200">
                <a:solidFill>
                  <a:schemeClr val="accent1"/>
                </a:solidFill>
              </a:rPr>
              <a:t>, </a:t>
            </a:r>
            <a:r>
              <a:rPr lang="en-US" sz="1200"/>
              <a:t>including actions and emotions as they seek to treat their RA pati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B2EE7F-8F43-4F25-8E72-E22A2B433A47}"/>
              </a:ext>
            </a:extLst>
          </p:cNvPr>
          <p:cNvSpPr txBox="1"/>
          <p:nvPr/>
        </p:nvSpPr>
        <p:spPr>
          <a:xfrm>
            <a:off x="1079251" y="4290430"/>
            <a:ext cx="3118813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accent6">
                    <a:lumMod val="75000"/>
                  </a:schemeClr>
                </a:solidFill>
              </a:rPr>
              <a:t>Increase the rate and speed at which HCPs complete their own unique and semi-personalized journey</a:t>
            </a:r>
            <a:r>
              <a:rPr lang="en-US" sz="1200"/>
              <a:t> to reach an objectiv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Create and use a </a:t>
            </a:r>
            <a:r>
              <a:rPr lang="en-US" sz="1200" b="1">
                <a:solidFill>
                  <a:schemeClr val="accent6">
                    <a:lumMod val="75000"/>
                  </a:schemeClr>
                </a:solidFill>
              </a:rPr>
              <a:t>platform to create and test hypothesis to learn how to interact most efficiently with each HCP </a:t>
            </a:r>
            <a:r>
              <a:rPr lang="en-US" sz="1200"/>
              <a:t>based on their unique journe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34A0DC-10F9-4E6F-8218-AFBAB71A34B4}"/>
              </a:ext>
            </a:extLst>
          </p:cNvPr>
          <p:cNvSpPr txBox="1"/>
          <p:nvPr/>
        </p:nvSpPr>
        <p:spPr>
          <a:xfrm>
            <a:off x="1041593" y="1746366"/>
            <a:ext cx="351191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A </a:t>
            </a:r>
            <a:r>
              <a:rPr lang="en-US" sz="1200" b="1">
                <a:solidFill>
                  <a:schemeClr val="accent6">
                    <a:lumMod val="60000"/>
                    <a:lumOff val="40000"/>
                  </a:schemeClr>
                </a:solidFill>
              </a:rPr>
              <a:t>deeper understanding of HCP needs, behaviors, emotions </a:t>
            </a:r>
            <a:r>
              <a:rPr lang="en-US" sz="1200"/>
              <a:t>as they seek to achieve a goa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A </a:t>
            </a:r>
            <a:r>
              <a:rPr lang="en-US" sz="1200" b="1">
                <a:solidFill>
                  <a:schemeClr val="accent6">
                    <a:lumMod val="60000"/>
                    <a:lumOff val="40000"/>
                  </a:schemeClr>
                </a:solidFill>
              </a:rPr>
              <a:t>journey dashboard </a:t>
            </a:r>
            <a:r>
              <a:rPr lang="en-US" sz="1200"/>
              <a:t>to bring together qualitative and quantitative data to highlight factors with greatest impact on goal achievem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D15740-62B3-4D32-9FF2-98EEC948A536}"/>
              </a:ext>
            </a:extLst>
          </p:cNvPr>
          <p:cNvGrpSpPr/>
          <p:nvPr/>
        </p:nvGrpSpPr>
        <p:grpSpPr>
          <a:xfrm>
            <a:off x="4605372" y="2117517"/>
            <a:ext cx="3375783" cy="3202961"/>
            <a:chOff x="3013075" y="342900"/>
            <a:chExt cx="6218617" cy="6172199"/>
          </a:xfrm>
        </p:grpSpPr>
        <p:sp>
          <p:nvSpPr>
            <p:cNvPr id="13" name="Google Shape;493;p22">
              <a:extLst>
                <a:ext uri="{FF2B5EF4-FFF2-40B4-BE49-F238E27FC236}">
                  <a16:creationId xmlns:a16="http://schemas.microsoft.com/office/drawing/2014/main" id="{62CB92C8-91B4-4319-A02A-927936BE4AC0}"/>
                </a:ext>
              </a:extLst>
            </p:cNvPr>
            <p:cNvSpPr/>
            <p:nvPr/>
          </p:nvSpPr>
          <p:spPr>
            <a:xfrm>
              <a:off x="3268662" y="4203700"/>
              <a:ext cx="5603875" cy="1017587"/>
            </a:xfrm>
            <a:custGeom>
              <a:avLst/>
              <a:gdLst/>
              <a:ahLst/>
              <a:cxnLst/>
              <a:rect l="l" t="t" r="r" b="b"/>
              <a:pathLst>
                <a:path w="3530" h="641" extrusionOk="0">
                  <a:moveTo>
                    <a:pt x="2838" y="601"/>
                  </a:moveTo>
                  <a:lnTo>
                    <a:pt x="2838" y="601"/>
                  </a:lnTo>
                  <a:lnTo>
                    <a:pt x="2862" y="641"/>
                  </a:lnTo>
                  <a:lnTo>
                    <a:pt x="3530" y="636"/>
                  </a:lnTo>
                  <a:lnTo>
                    <a:pt x="2862" y="641"/>
                  </a:lnTo>
                  <a:lnTo>
                    <a:pt x="2838" y="601"/>
                  </a:lnTo>
                  <a:close/>
                  <a:moveTo>
                    <a:pt x="331" y="0"/>
                  </a:moveTo>
                  <a:lnTo>
                    <a:pt x="0" y="582"/>
                  </a:lnTo>
                  <a:lnTo>
                    <a:pt x="331" y="0"/>
                  </a:lnTo>
                  <a:lnTo>
                    <a:pt x="345" y="0"/>
                  </a:lnTo>
                  <a:lnTo>
                    <a:pt x="3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494;p22">
              <a:extLst>
                <a:ext uri="{FF2B5EF4-FFF2-40B4-BE49-F238E27FC236}">
                  <a16:creationId xmlns:a16="http://schemas.microsoft.com/office/drawing/2014/main" id="{4D4E63F4-198B-4B48-BA22-1DF528E706F3}"/>
                </a:ext>
              </a:extLst>
            </p:cNvPr>
            <p:cNvSpPr/>
            <p:nvPr/>
          </p:nvSpPr>
          <p:spPr>
            <a:xfrm>
              <a:off x="3268662" y="4203700"/>
              <a:ext cx="5603875" cy="1017587"/>
            </a:xfrm>
            <a:custGeom>
              <a:avLst/>
              <a:gdLst/>
              <a:ahLst/>
              <a:cxnLst/>
              <a:rect l="l" t="t" r="r" b="b"/>
              <a:pathLst>
                <a:path w="3530" h="641" extrusionOk="0">
                  <a:moveTo>
                    <a:pt x="2838" y="601"/>
                  </a:moveTo>
                  <a:lnTo>
                    <a:pt x="2838" y="601"/>
                  </a:lnTo>
                  <a:lnTo>
                    <a:pt x="2862" y="641"/>
                  </a:lnTo>
                  <a:lnTo>
                    <a:pt x="3530" y="636"/>
                  </a:lnTo>
                  <a:lnTo>
                    <a:pt x="2862" y="641"/>
                  </a:lnTo>
                  <a:lnTo>
                    <a:pt x="2838" y="601"/>
                  </a:lnTo>
                  <a:moveTo>
                    <a:pt x="331" y="0"/>
                  </a:moveTo>
                  <a:lnTo>
                    <a:pt x="0" y="582"/>
                  </a:lnTo>
                  <a:lnTo>
                    <a:pt x="331" y="0"/>
                  </a:lnTo>
                  <a:lnTo>
                    <a:pt x="345" y="0"/>
                  </a:lnTo>
                  <a:lnTo>
                    <a:pt x="331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500;p22">
              <a:extLst>
                <a:ext uri="{FF2B5EF4-FFF2-40B4-BE49-F238E27FC236}">
                  <a16:creationId xmlns:a16="http://schemas.microsoft.com/office/drawing/2014/main" id="{698A5DDA-E6B2-4A9A-9D52-C055F86B6E5E}"/>
                </a:ext>
              </a:extLst>
            </p:cNvPr>
            <p:cNvSpPr/>
            <p:nvPr/>
          </p:nvSpPr>
          <p:spPr>
            <a:xfrm>
              <a:off x="4910137" y="342900"/>
              <a:ext cx="3436937" cy="2527300"/>
            </a:xfrm>
            <a:custGeom>
              <a:avLst/>
              <a:gdLst/>
              <a:ahLst/>
              <a:cxnLst/>
              <a:rect l="l" t="t" r="r" b="b"/>
              <a:pathLst>
                <a:path w="442" h="325" extrusionOk="0">
                  <a:moveTo>
                    <a:pt x="104" y="236"/>
                  </a:moveTo>
                  <a:cubicBezTo>
                    <a:pt x="442" y="126"/>
                    <a:pt x="442" y="126"/>
                    <a:pt x="442" y="126"/>
                  </a:cubicBezTo>
                  <a:cubicBezTo>
                    <a:pt x="368" y="46"/>
                    <a:pt x="263" y="0"/>
                    <a:pt x="153" y="0"/>
                  </a:cubicBezTo>
                  <a:cubicBezTo>
                    <a:pt x="100" y="0"/>
                    <a:pt x="49" y="10"/>
                    <a:pt x="0" y="31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" y="315"/>
                    <a:pt x="11" y="305"/>
                    <a:pt x="18" y="296"/>
                  </a:cubicBezTo>
                  <a:cubicBezTo>
                    <a:pt x="40" y="267"/>
                    <a:pt x="70" y="246"/>
                    <a:pt x="104" y="236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501;p22">
              <a:extLst>
                <a:ext uri="{FF2B5EF4-FFF2-40B4-BE49-F238E27FC236}">
                  <a16:creationId xmlns:a16="http://schemas.microsoft.com/office/drawing/2014/main" id="{F5267DD2-629C-44EF-B540-3A9164D12092}"/>
                </a:ext>
              </a:extLst>
            </p:cNvPr>
            <p:cNvSpPr/>
            <p:nvPr/>
          </p:nvSpPr>
          <p:spPr>
            <a:xfrm>
              <a:off x="3013075" y="638175"/>
              <a:ext cx="2192337" cy="3746500"/>
            </a:xfrm>
            <a:custGeom>
              <a:avLst/>
              <a:gdLst/>
              <a:ahLst/>
              <a:cxnLst/>
              <a:rect l="l" t="t" r="r" b="b"/>
              <a:pathLst>
                <a:path w="282" h="482" extrusionOk="0">
                  <a:moveTo>
                    <a:pt x="0" y="359"/>
                  </a:moveTo>
                  <a:cubicBezTo>
                    <a:pt x="0" y="370"/>
                    <a:pt x="1" y="380"/>
                    <a:pt x="1" y="391"/>
                  </a:cubicBezTo>
                  <a:cubicBezTo>
                    <a:pt x="282" y="482"/>
                    <a:pt x="282" y="482"/>
                    <a:pt x="282" y="482"/>
                  </a:cubicBezTo>
                  <a:cubicBezTo>
                    <a:pt x="248" y="451"/>
                    <a:pt x="228" y="407"/>
                    <a:pt x="228" y="359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89" y="65"/>
                    <a:pt x="0" y="205"/>
                    <a:pt x="0" y="359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502;p22">
              <a:extLst>
                <a:ext uri="{FF2B5EF4-FFF2-40B4-BE49-F238E27FC236}">
                  <a16:creationId xmlns:a16="http://schemas.microsoft.com/office/drawing/2014/main" id="{83469FBF-C29C-4B01-842B-B1BC5C3A46E4}"/>
                </a:ext>
              </a:extLst>
            </p:cNvPr>
            <p:cNvSpPr/>
            <p:nvPr/>
          </p:nvSpPr>
          <p:spPr>
            <a:xfrm>
              <a:off x="6262687" y="1423987"/>
              <a:ext cx="2924175" cy="3497262"/>
            </a:xfrm>
            <a:custGeom>
              <a:avLst/>
              <a:gdLst/>
              <a:ahLst/>
              <a:cxnLst/>
              <a:rect l="l" t="t" r="r" b="b"/>
              <a:pathLst>
                <a:path w="376" h="450" extrusionOk="0">
                  <a:moveTo>
                    <a:pt x="280" y="0"/>
                  </a:moveTo>
                  <a:cubicBezTo>
                    <a:pt x="0" y="91"/>
                    <a:pt x="0" y="91"/>
                    <a:pt x="0" y="91"/>
                  </a:cubicBezTo>
                  <a:cubicBezTo>
                    <a:pt x="46" y="96"/>
                    <a:pt x="88" y="121"/>
                    <a:pt x="115" y="159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327" y="450"/>
                    <a:pt x="327" y="450"/>
                    <a:pt x="327" y="450"/>
                  </a:cubicBezTo>
                  <a:cubicBezTo>
                    <a:pt x="359" y="391"/>
                    <a:pt x="376" y="325"/>
                    <a:pt x="376" y="258"/>
                  </a:cubicBezTo>
                  <a:cubicBezTo>
                    <a:pt x="376" y="163"/>
                    <a:pt x="342" y="71"/>
                    <a:pt x="280" y="0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tx1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503;p22">
              <a:extLst>
                <a:ext uri="{FF2B5EF4-FFF2-40B4-BE49-F238E27FC236}">
                  <a16:creationId xmlns:a16="http://schemas.microsoft.com/office/drawing/2014/main" id="{E02CA19B-F907-4391-87E3-79AD8FCAE454}"/>
                </a:ext>
              </a:extLst>
            </p:cNvPr>
            <p:cNvSpPr/>
            <p:nvPr/>
          </p:nvSpPr>
          <p:spPr>
            <a:xfrm>
              <a:off x="3035300" y="3810000"/>
              <a:ext cx="3702050" cy="2619375"/>
            </a:xfrm>
            <a:custGeom>
              <a:avLst/>
              <a:gdLst/>
              <a:ahLst/>
              <a:cxnLst/>
              <a:rect l="l" t="t" r="r" b="b"/>
              <a:pathLst>
                <a:path w="476" h="337" extrusionOk="0">
                  <a:moveTo>
                    <a:pt x="302" y="337"/>
                  </a:moveTo>
                  <a:cubicBezTo>
                    <a:pt x="476" y="98"/>
                    <a:pt x="476" y="98"/>
                    <a:pt x="476" y="98"/>
                  </a:cubicBezTo>
                  <a:cubicBezTo>
                    <a:pt x="451" y="112"/>
                    <a:pt x="423" y="120"/>
                    <a:pt x="394" y="120"/>
                  </a:cubicBezTo>
                  <a:cubicBezTo>
                    <a:pt x="375" y="120"/>
                    <a:pt x="356" y="117"/>
                    <a:pt x="339" y="1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165"/>
                    <a:pt x="140" y="299"/>
                    <a:pt x="302" y="337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504;p22">
              <a:extLst>
                <a:ext uri="{FF2B5EF4-FFF2-40B4-BE49-F238E27FC236}">
                  <a16:creationId xmlns:a16="http://schemas.microsoft.com/office/drawing/2014/main" id="{E52ACDB1-3ADF-4AF0-864D-B9409682C773}"/>
                </a:ext>
              </a:extLst>
            </p:cNvPr>
            <p:cNvSpPr/>
            <p:nvPr/>
          </p:nvSpPr>
          <p:spPr>
            <a:xfrm>
              <a:off x="5516562" y="3179762"/>
              <a:ext cx="3219450" cy="3335337"/>
            </a:xfrm>
            <a:custGeom>
              <a:avLst/>
              <a:gdLst/>
              <a:ahLst/>
              <a:cxnLst/>
              <a:rect l="l" t="t" r="r" b="b"/>
              <a:pathLst>
                <a:path w="414" h="429" extrusionOk="0">
                  <a:moveTo>
                    <a:pt x="75" y="429"/>
                  </a:moveTo>
                  <a:cubicBezTo>
                    <a:pt x="213" y="429"/>
                    <a:pt x="342" y="356"/>
                    <a:pt x="414" y="239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3" y="10"/>
                    <a:pt x="244" y="21"/>
                    <a:pt x="244" y="32"/>
                  </a:cubicBezTo>
                  <a:cubicBezTo>
                    <a:pt x="244" y="68"/>
                    <a:pt x="232" y="102"/>
                    <a:pt x="211" y="131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25" y="426"/>
                    <a:pt x="50" y="429"/>
                    <a:pt x="75" y="42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r>
                <a:rPr lang="en-US" sz="800" b="0" i="0" u="none">
                  <a:solidFill>
                    <a:schemeClr val="bg1"/>
                  </a:solidFill>
                  <a:latin typeface="Calibri"/>
                  <a:ea typeface="Calibri"/>
                  <a:cs typeface="Calibri"/>
                  <a:sym typeface="Calibri"/>
                </a:rPr>
                <a:t>t</a:t>
              </a:r>
              <a:endParaRPr sz="800">
                <a:solidFill>
                  <a:schemeClr val="bg1"/>
                </a:solidFill>
              </a:endParaRPr>
            </a:p>
          </p:txBody>
        </p:sp>
        <p:sp>
          <p:nvSpPr>
            <p:cNvPr id="20" name="Google Shape;510;p22">
              <a:extLst>
                <a:ext uri="{FF2B5EF4-FFF2-40B4-BE49-F238E27FC236}">
                  <a16:creationId xmlns:a16="http://schemas.microsoft.com/office/drawing/2014/main" id="{5DDB0C72-7FA5-4E22-80CF-6AE4A0AB3E0A}"/>
                </a:ext>
              </a:extLst>
            </p:cNvPr>
            <p:cNvSpPr txBox="1"/>
            <p:nvPr/>
          </p:nvSpPr>
          <p:spPr>
            <a:xfrm>
              <a:off x="5091776" y="1660842"/>
              <a:ext cx="815975" cy="793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3900"/>
                <a:buFont typeface="PT Sans"/>
                <a:buNone/>
              </a:pPr>
              <a:r>
                <a:rPr lang="en-US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01</a:t>
              </a:r>
              <a:endParaRPr sz="1000">
                <a:solidFill>
                  <a:schemeClr val="bg1"/>
                </a:solidFill>
              </a:endParaRPr>
            </a:p>
          </p:txBody>
        </p:sp>
        <p:sp>
          <p:nvSpPr>
            <p:cNvPr id="21" name="Google Shape;511;p22">
              <a:extLst>
                <a:ext uri="{FF2B5EF4-FFF2-40B4-BE49-F238E27FC236}">
                  <a16:creationId xmlns:a16="http://schemas.microsoft.com/office/drawing/2014/main" id="{E3F96752-4260-4B6A-B3D9-8DD0C44CE657}"/>
                </a:ext>
              </a:extLst>
            </p:cNvPr>
            <p:cNvSpPr txBox="1"/>
            <p:nvPr/>
          </p:nvSpPr>
          <p:spPr>
            <a:xfrm>
              <a:off x="7026273" y="1948178"/>
              <a:ext cx="815975" cy="793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3900"/>
                <a:buFont typeface="PT Sans"/>
                <a:buNone/>
              </a:pPr>
              <a:r>
                <a:rPr lang="en-US" b="0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02</a:t>
              </a: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2" name="Google Shape;512;p22">
              <a:extLst>
                <a:ext uri="{FF2B5EF4-FFF2-40B4-BE49-F238E27FC236}">
                  <a16:creationId xmlns:a16="http://schemas.microsoft.com/office/drawing/2014/main" id="{FE8FBCA8-4205-4452-B1C2-3E4B9A11C697}"/>
                </a:ext>
              </a:extLst>
            </p:cNvPr>
            <p:cNvSpPr txBox="1"/>
            <p:nvPr/>
          </p:nvSpPr>
          <p:spPr>
            <a:xfrm>
              <a:off x="7392987" y="3840161"/>
              <a:ext cx="544512" cy="6000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36363"/>
                </a:buClr>
                <a:buSzPts val="3900"/>
                <a:buFont typeface="PT Sans"/>
                <a:buNone/>
              </a:pPr>
              <a:r>
                <a:rPr lang="en-US" b="0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03</a:t>
              </a: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3" name="Google Shape;513;p22">
              <a:extLst>
                <a:ext uri="{FF2B5EF4-FFF2-40B4-BE49-F238E27FC236}">
                  <a16:creationId xmlns:a16="http://schemas.microsoft.com/office/drawing/2014/main" id="{24C27758-F9A7-47E8-A643-D9D170AE9C79}"/>
                </a:ext>
              </a:extLst>
            </p:cNvPr>
            <p:cNvSpPr txBox="1"/>
            <p:nvPr/>
          </p:nvSpPr>
          <p:spPr>
            <a:xfrm>
              <a:off x="5782204" y="4789085"/>
              <a:ext cx="815975" cy="793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3900"/>
                <a:buFont typeface="PT Sans"/>
                <a:buNone/>
              </a:pPr>
              <a:r>
                <a:rPr lang="en-US" b="0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04</a:t>
              </a: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4" name="Google Shape;514;p22">
              <a:extLst>
                <a:ext uri="{FF2B5EF4-FFF2-40B4-BE49-F238E27FC236}">
                  <a16:creationId xmlns:a16="http://schemas.microsoft.com/office/drawing/2014/main" id="{DF065E1C-AFEF-4DAB-BD8C-2775D94D4D85}"/>
                </a:ext>
              </a:extLst>
            </p:cNvPr>
            <p:cNvSpPr txBox="1"/>
            <p:nvPr/>
          </p:nvSpPr>
          <p:spPr>
            <a:xfrm>
              <a:off x="4279627" y="3492501"/>
              <a:ext cx="815975" cy="793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3900"/>
                <a:buFont typeface="PT Sans"/>
                <a:buNone/>
              </a:pPr>
              <a:r>
                <a:rPr lang="en-US" b="0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05</a:t>
              </a:r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5" name="Google Shape;516;p22">
              <a:extLst>
                <a:ext uri="{FF2B5EF4-FFF2-40B4-BE49-F238E27FC236}">
                  <a16:creationId xmlns:a16="http://schemas.microsoft.com/office/drawing/2014/main" id="{42E67A3F-C781-4F38-BF43-392D967B2B53}"/>
                </a:ext>
              </a:extLst>
            </p:cNvPr>
            <p:cNvSpPr txBox="1"/>
            <p:nvPr/>
          </p:nvSpPr>
          <p:spPr>
            <a:xfrm>
              <a:off x="5322205" y="668408"/>
              <a:ext cx="1674148" cy="9540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Open Sans"/>
                <a:buNone/>
              </a:pPr>
              <a:r>
                <a:rPr lang="en-US" sz="1200" b="1" i="0" u="none">
                  <a:solidFill>
                    <a:schemeClr val="bg1"/>
                  </a:solidFill>
                  <a:latin typeface="Open Sans"/>
                  <a:ea typeface="Open Sans"/>
                  <a:cs typeface="Open Sans"/>
                  <a:sym typeface="Open Sans"/>
                </a:rPr>
                <a:t>Journey discovery</a:t>
              </a:r>
              <a:endParaRPr sz="1600" b="1">
                <a:solidFill>
                  <a:schemeClr val="bg1"/>
                </a:solidFill>
              </a:endParaRPr>
            </a:p>
          </p:txBody>
        </p:sp>
        <p:sp>
          <p:nvSpPr>
            <p:cNvPr id="26" name="Google Shape;517;p22">
              <a:extLst>
                <a:ext uri="{FF2B5EF4-FFF2-40B4-BE49-F238E27FC236}">
                  <a16:creationId xmlns:a16="http://schemas.microsoft.com/office/drawing/2014/main" id="{A556E433-A078-4258-AC48-ED30EAE4C4EC}"/>
                </a:ext>
              </a:extLst>
            </p:cNvPr>
            <p:cNvSpPr txBox="1"/>
            <p:nvPr/>
          </p:nvSpPr>
          <p:spPr>
            <a:xfrm>
              <a:off x="7186195" y="2162175"/>
              <a:ext cx="2045497" cy="9540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400"/>
                <a:buFont typeface="Open Sans"/>
                <a:buNone/>
              </a:pPr>
              <a:r>
                <a:rPr lang="en-US" sz="1200" b="1" i="0" u="none">
                  <a:solidFill>
                    <a:schemeClr val="bg1"/>
                  </a:solidFill>
                  <a:latin typeface="Open Sans"/>
                  <a:ea typeface="Open Sans"/>
                  <a:cs typeface="Open Sans"/>
                  <a:sym typeface="Open Sans"/>
                </a:rPr>
                <a:t>Journey Mapping</a:t>
              </a:r>
              <a:endParaRPr sz="1200" b="1">
                <a:solidFill>
                  <a:schemeClr val="bg1"/>
                </a:solidFill>
              </a:endParaRPr>
            </a:p>
          </p:txBody>
        </p:sp>
        <p:sp>
          <p:nvSpPr>
            <p:cNvPr id="27" name="Google Shape;498;p22">
              <a:extLst>
                <a:ext uri="{FF2B5EF4-FFF2-40B4-BE49-F238E27FC236}">
                  <a16:creationId xmlns:a16="http://schemas.microsoft.com/office/drawing/2014/main" id="{FD4169C6-8D09-44AD-B9CD-B9ADD1E50058}"/>
                </a:ext>
              </a:extLst>
            </p:cNvPr>
            <p:cNvSpPr txBox="1"/>
            <p:nvPr/>
          </p:nvSpPr>
          <p:spPr>
            <a:xfrm>
              <a:off x="5073200" y="2833753"/>
              <a:ext cx="1930401" cy="890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959"/>
                </a:buClr>
                <a:buSzPts val="2300"/>
                <a:buFont typeface="PT Sans"/>
                <a:buNone/>
              </a:pPr>
              <a:r>
                <a:rPr lang="en-US" sz="1400" b="1" i="0" u="none">
                  <a:solidFill>
                    <a:schemeClr val="bg1"/>
                  </a:solidFill>
                  <a:latin typeface="PT Sans"/>
                  <a:ea typeface="PT Sans"/>
                  <a:cs typeface="PT Sans"/>
                  <a:sym typeface="PT Sans"/>
                </a:rPr>
                <a:t>HCP Journey Capabilities </a:t>
              </a:r>
              <a:endParaRPr sz="1100">
                <a:solidFill>
                  <a:schemeClr val="bg1"/>
                </a:solidFill>
              </a:endParaRPr>
            </a:p>
          </p:txBody>
        </p:sp>
      </p:grpSp>
      <p:sp>
        <p:nvSpPr>
          <p:cNvPr id="28" name="Google Shape;517;p22">
            <a:extLst>
              <a:ext uri="{FF2B5EF4-FFF2-40B4-BE49-F238E27FC236}">
                <a16:creationId xmlns:a16="http://schemas.microsoft.com/office/drawing/2014/main" id="{10567F6E-D15F-424F-B39C-13ED10550AE9}"/>
              </a:ext>
            </a:extLst>
          </p:cNvPr>
          <p:cNvSpPr txBox="1"/>
          <p:nvPr/>
        </p:nvSpPr>
        <p:spPr>
          <a:xfrm>
            <a:off x="6289054" y="4414887"/>
            <a:ext cx="1338591" cy="495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Open Sans"/>
              <a:buNone/>
            </a:pPr>
            <a:r>
              <a:rPr lang="en-US" sz="1200" b="1" i="0" u="none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Journey Orchestration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29" name="Google Shape;517;p22">
            <a:extLst>
              <a:ext uri="{FF2B5EF4-FFF2-40B4-BE49-F238E27FC236}">
                <a16:creationId xmlns:a16="http://schemas.microsoft.com/office/drawing/2014/main" id="{2C142224-BDD4-4752-803B-845F4249B194}"/>
              </a:ext>
            </a:extLst>
          </p:cNvPr>
          <p:cNvSpPr txBox="1"/>
          <p:nvPr/>
        </p:nvSpPr>
        <p:spPr>
          <a:xfrm>
            <a:off x="4964961" y="4469133"/>
            <a:ext cx="1290516" cy="495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Open Sans"/>
              <a:buNone/>
            </a:pPr>
            <a:r>
              <a:rPr lang="en-US" sz="1200" b="1" i="0" u="none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Journey Optimization</a:t>
            </a:r>
            <a:endParaRPr sz="1200" b="1">
              <a:solidFill>
                <a:schemeClr val="bg1"/>
              </a:solidFill>
            </a:endParaRPr>
          </a:p>
        </p:txBody>
      </p:sp>
      <p:sp>
        <p:nvSpPr>
          <p:cNvPr id="30" name="Google Shape;517;p22">
            <a:extLst>
              <a:ext uri="{FF2B5EF4-FFF2-40B4-BE49-F238E27FC236}">
                <a16:creationId xmlns:a16="http://schemas.microsoft.com/office/drawing/2014/main" id="{DB64A90A-F10F-44FF-9B97-A5C5BFB23F17}"/>
              </a:ext>
            </a:extLst>
          </p:cNvPr>
          <p:cNvSpPr txBox="1"/>
          <p:nvPr/>
        </p:nvSpPr>
        <p:spPr>
          <a:xfrm>
            <a:off x="4613199" y="3111131"/>
            <a:ext cx="1110400" cy="495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Open Sans"/>
              <a:buNone/>
            </a:pPr>
            <a:r>
              <a:rPr lang="en-US" sz="1200" b="1" i="0" u="none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Journey Insights</a:t>
            </a:r>
            <a:endParaRPr sz="1200" b="1">
              <a:solidFill>
                <a:schemeClr val="bg1"/>
              </a:solidFill>
            </a:endParaRPr>
          </a:p>
        </p:txBody>
      </p:sp>
      <p:pic>
        <p:nvPicPr>
          <p:cNvPr id="31" name="Graphic 30" descr="Magnifying glass with solid fill">
            <a:extLst>
              <a:ext uri="{FF2B5EF4-FFF2-40B4-BE49-F238E27FC236}">
                <a16:creationId xmlns:a16="http://schemas.microsoft.com/office/drawing/2014/main" id="{C8DFA516-E991-419B-A22A-98B7DB5C63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92036" y="2328493"/>
            <a:ext cx="366967" cy="363860"/>
          </a:xfrm>
          <a:prstGeom prst="rect">
            <a:avLst/>
          </a:prstGeom>
        </p:spPr>
      </p:pic>
      <p:pic>
        <p:nvPicPr>
          <p:cNvPr id="32" name="Graphic 31" descr="Route (Two Pins With A Path) with solid fill">
            <a:extLst>
              <a:ext uri="{FF2B5EF4-FFF2-40B4-BE49-F238E27FC236}">
                <a16:creationId xmlns:a16="http://schemas.microsoft.com/office/drawing/2014/main" id="{111A559B-BFC4-4CFA-A39E-BC49F0812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45807" y="3604113"/>
            <a:ext cx="499335" cy="495107"/>
          </a:xfrm>
          <a:prstGeom prst="rect">
            <a:avLst/>
          </a:prstGeom>
        </p:spPr>
      </p:pic>
      <p:pic>
        <p:nvPicPr>
          <p:cNvPr id="33" name="Graphic 32" descr="Cheers with solid fill">
            <a:extLst>
              <a:ext uri="{FF2B5EF4-FFF2-40B4-BE49-F238E27FC236}">
                <a16:creationId xmlns:a16="http://schemas.microsoft.com/office/drawing/2014/main" id="{53F24023-C592-4F8E-95E3-B89EB107ED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58524" y="4927977"/>
            <a:ext cx="319264" cy="316561"/>
          </a:xfrm>
          <a:prstGeom prst="rect">
            <a:avLst/>
          </a:prstGeom>
        </p:spPr>
      </p:pic>
      <p:pic>
        <p:nvPicPr>
          <p:cNvPr id="34" name="Graphic 33" descr="Continuous Improvement with solid fill">
            <a:extLst>
              <a:ext uri="{FF2B5EF4-FFF2-40B4-BE49-F238E27FC236}">
                <a16:creationId xmlns:a16="http://schemas.microsoft.com/office/drawing/2014/main" id="{E2EBF9B5-0A9A-4BA4-86E1-690B6C3195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16888" y="4050379"/>
            <a:ext cx="440238" cy="436511"/>
          </a:xfrm>
          <a:prstGeom prst="rect">
            <a:avLst/>
          </a:prstGeom>
        </p:spPr>
      </p:pic>
      <p:pic>
        <p:nvPicPr>
          <p:cNvPr id="35" name="Graphic 34" descr="Lights On with solid fill">
            <a:extLst>
              <a:ext uri="{FF2B5EF4-FFF2-40B4-BE49-F238E27FC236}">
                <a16:creationId xmlns:a16="http://schemas.microsoft.com/office/drawing/2014/main" id="{BCE6B585-8983-4B6B-BF3F-6826997084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33665" y="2540101"/>
            <a:ext cx="367909" cy="36479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A7225E3-1A54-4C44-9EC3-C49C56C800BA}"/>
              </a:ext>
            </a:extLst>
          </p:cNvPr>
          <p:cNvSpPr txBox="1"/>
          <p:nvPr/>
        </p:nvSpPr>
        <p:spPr>
          <a:xfrm>
            <a:off x="5593760" y="3409950"/>
            <a:ext cx="1363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HCP Journey capabilities</a:t>
            </a:r>
          </a:p>
        </p:txBody>
      </p:sp>
      <p:sp>
        <p:nvSpPr>
          <p:cNvPr id="37" name="Right Arrow 22">
            <a:extLst>
              <a:ext uri="{FF2B5EF4-FFF2-40B4-BE49-F238E27FC236}">
                <a16:creationId xmlns:a16="http://schemas.microsoft.com/office/drawing/2014/main" id="{97B9D37D-148A-4B52-A3D6-3CAAA78CEC3F}"/>
              </a:ext>
            </a:extLst>
          </p:cNvPr>
          <p:cNvSpPr/>
          <p:nvPr/>
        </p:nvSpPr>
        <p:spPr bwMode="auto">
          <a:xfrm>
            <a:off x="7994218" y="3469915"/>
            <a:ext cx="355913" cy="381751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EB1017-F228-4262-8A9B-FDB740217461}"/>
              </a:ext>
            </a:extLst>
          </p:cNvPr>
          <p:cNvSpPr txBox="1"/>
          <p:nvPr/>
        </p:nvSpPr>
        <p:spPr>
          <a:xfrm>
            <a:off x="8530761" y="2554685"/>
            <a:ext cx="28852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>
                <a:solidFill>
                  <a:schemeClr val="accent1"/>
                </a:solidFill>
              </a:rPr>
              <a:t>Project Scop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840DA7-F33B-48D4-99DE-74129D3706CC}"/>
              </a:ext>
            </a:extLst>
          </p:cNvPr>
          <p:cNvSpPr txBox="1"/>
          <p:nvPr/>
        </p:nvSpPr>
        <p:spPr>
          <a:xfrm>
            <a:off x="6653090" y="5176794"/>
            <a:ext cx="5220193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accent5">
                    <a:lumMod val="75000"/>
                  </a:schemeClr>
                </a:solidFill>
              </a:rPr>
              <a:t>Coordinate interactions </a:t>
            </a:r>
            <a:r>
              <a:rPr lang="en-US" sz="1200"/>
              <a:t>across channels, </a:t>
            </a:r>
            <a:r>
              <a:rPr lang="en-US" sz="1200" b="1"/>
              <a:t>automate interactions </a:t>
            </a:r>
            <a:r>
              <a:rPr lang="en-US" sz="1200"/>
              <a:t>(where possible and relevant) at each step of journe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accent5">
                    <a:lumMod val="75000"/>
                  </a:schemeClr>
                </a:solidFill>
              </a:rPr>
              <a:t>Personalize engagement using information about HCP </a:t>
            </a:r>
            <a:r>
              <a:rPr lang="en-US" sz="1200"/>
              <a:t>and where they are in the journe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/>
              <a:t>Build a </a:t>
            </a:r>
            <a:r>
              <a:rPr lang="en-US" sz="1200" b="1">
                <a:solidFill>
                  <a:schemeClr val="accent5">
                    <a:lumMod val="75000"/>
                  </a:schemeClr>
                </a:solidFill>
              </a:rPr>
              <a:t>platform that automates </a:t>
            </a:r>
            <a:r>
              <a:rPr lang="en-US" sz="1200"/>
              <a:t>real time personalized interactions to improve journey flow and drive desirable outcomes for HCPs and pati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98964634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DB79018-7BBD-4B78-AE5D-D205F7EBB40B}"/>
              </a:ext>
            </a:extLst>
          </p:cNvPr>
          <p:cNvSpPr/>
          <p:nvPr/>
        </p:nvSpPr>
        <p:spPr bwMode="auto">
          <a:xfrm>
            <a:off x="0" y="1197612"/>
            <a:ext cx="12192000" cy="294204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010" y="1491416"/>
            <a:ext cx="10181980" cy="1374476"/>
          </a:xfrm>
        </p:spPr>
        <p:txBody>
          <a:bodyPr/>
          <a:lstStyle/>
          <a:p>
            <a:pPr algn="ctr"/>
            <a:r>
              <a:rPr lang="en-GB" sz="3200">
                <a:solidFill>
                  <a:schemeClr val="bg1"/>
                </a:solidFill>
              </a:rPr>
              <a:t>The international team would like to support you in developing omnichannel customer journeys for your mark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B77FAF-9351-4BA9-97FC-935D2A7A4038}"/>
              </a:ext>
            </a:extLst>
          </p:cNvPr>
          <p:cNvSpPr txBox="1"/>
          <p:nvPr/>
        </p:nvSpPr>
        <p:spPr>
          <a:xfrm>
            <a:off x="1929697" y="3159695"/>
            <a:ext cx="79975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</a:rPr>
              <a:t>We are starting a rapid, focused project to co-create pragmatic, executable, local Customer Journeys that will help </a:t>
            </a:r>
            <a:r>
              <a:rPr lang="en-GB" b="1">
                <a:solidFill>
                  <a:schemeClr val="accent1"/>
                </a:solidFill>
              </a:rPr>
              <a:t>drive superior HCP experiences</a:t>
            </a:r>
          </a:p>
          <a:p>
            <a:pPr algn="ctr"/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9194F-55BB-48D6-B0A3-D1882A635B2A}"/>
              </a:ext>
            </a:extLst>
          </p:cNvPr>
          <p:cNvSpPr txBox="1"/>
          <p:nvPr/>
        </p:nvSpPr>
        <p:spPr>
          <a:xfrm>
            <a:off x="2627900" y="4611962"/>
            <a:ext cx="7720786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tx2"/>
                </a:solidFill>
              </a:rPr>
              <a:t>International Journeys delivered by end of April</a:t>
            </a:r>
          </a:p>
          <a:p>
            <a:pPr algn="ctr">
              <a:buClr>
                <a:schemeClr val="accent1"/>
              </a:buClr>
            </a:pPr>
            <a:endParaRPr lang="en-GB" b="1">
              <a:solidFill>
                <a:schemeClr val="tx2"/>
              </a:solidFill>
            </a:endParaRPr>
          </a:p>
          <a:p>
            <a:pPr marL="285750" indent="-285750" algn="ctr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b="1">
                <a:solidFill>
                  <a:schemeClr val="tx2"/>
                </a:solidFill>
              </a:rPr>
              <a:t>Detailed market Journeys to be delivered by end of M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48F14B-85B0-4AFD-8B54-74B67CD4686D}"/>
              </a:ext>
            </a:extLst>
          </p:cNvPr>
          <p:cNvSpPr txBox="1"/>
          <p:nvPr/>
        </p:nvSpPr>
        <p:spPr>
          <a:xfrm>
            <a:off x="3938679" y="5535292"/>
            <a:ext cx="4527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i="1">
                <a:solidFill>
                  <a:schemeClr val="bg2"/>
                </a:solidFill>
              </a:rPr>
              <a:t>*Country-specific - See project plan for detailed schedule</a:t>
            </a:r>
          </a:p>
        </p:txBody>
      </p:sp>
    </p:spTree>
    <p:extLst>
      <p:ext uri="{BB962C8B-B14F-4D97-AF65-F5344CB8AC3E}">
        <p14:creationId xmlns:p14="http://schemas.microsoft.com/office/powerpoint/2010/main" val="232882379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1736357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will you get at the end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9EE307-EA92-4A21-A4AA-B9E6F29E31B7}"/>
              </a:ext>
            </a:extLst>
          </p:cNvPr>
          <p:cNvSpPr txBox="1"/>
          <p:nvPr/>
        </p:nvSpPr>
        <p:spPr>
          <a:xfrm>
            <a:off x="539360" y="1970283"/>
            <a:ext cx="10522217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>
                <a:solidFill>
                  <a:schemeClr val="accent2"/>
                </a:solidFill>
              </a:rPr>
              <a:t>A clear, 12-month* Customer Journey </a:t>
            </a:r>
            <a:r>
              <a:rPr lang="en-US" b="1">
                <a:solidFill>
                  <a:schemeClr val="accent1"/>
                </a:solidFill>
              </a:rPr>
              <a:t>for your market, specific to RA indication</a:t>
            </a:r>
            <a:r>
              <a:rPr lang="en-US"/>
              <a:t>, linked to driving HCPs up the initial stages in the adoption ladder 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800" b="1">
                <a:solidFill>
                  <a:schemeClr val="accent2"/>
                </a:solidFill>
              </a:rPr>
              <a:t>Journeys </a:t>
            </a:r>
            <a:r>
              <a:rPr lang="en-US" sz="1800"/>
              <a:t>that are linked to </a:t>
            </a:r>
            <a:r>
              <a:rPr lang="en-US" b="1">
                <a:solidFill>
                  <a:schemeClr val="tx2"/>
                </a:solidFill>
              </a:rPr>
              <a:t>content both </a:t>
            </a:r>
            <a:r>
              <a:rPr lang="en-US" sz="1800" b="1">
                <a:solidFill>
                  <a:schemeClr val="tx2"/>
                </a:solidFill>
              </a:rPr>
              <a:t>existing and currently in production for launch</a:t>
            </a:r>
            <a:r>
              <a:rPr lang="en-US" sz="1800"/>
              <a:t>, with easy access to the materials needed for execution (and view on planned content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b="1">
                <a:solidFill>
                  <a:schemeClr val="accent2"/>
                </a:solidFill>
              </a:rPr>
              <a:t>An easy-to-use </a:t>
            </a:r>
            <a:r>
              <a:rPr lang="en-US"/>
              <a:t>Customer Journey </a:t>
            </a:r>
            <a:r>
              <a:rPr lang="en-US" b="1">
                <a:solidFill>
                  <a:schemeClr val="accent2"/>
                </a:solidFill>
              </a:rPr>
              <a:t>format</a:t>
            </a:r>
            <a:r>
              <a:rPr lang="en-US"/>
              <a:t>, to enable dynamic updates throughout the year</a:t>
            </a:r>
            <a:endParaRPr lang="en-US" sz="1800"/>
          </a:p>
        </p:txBody>
      </p:sp>
      <p:pic>
        <p:nvPicPr>
          <p:cNvPr id="10" name="Graphic 9" descr="Bullseye with solid fill">
            <a:extLst>
              <a:ext uri="{FF2B5EF4-FFF2-40B4-BE49-F238E27FC236}">
                <a16:creationId xmlns:a16="http://schemas.microsoft.com/office/drawing/2014/main" id="{3768AB0A-9864-4D58-A1CE-FD310767B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3216" y="159417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D4C687E-1B0A-453C-A6C9-C28137533B1B}"/>
              </a:ext>
            </a:extLst>
          </p:cNvPr>
          <p:cNvSpPr txBox="1"/>
          <p:nvPr/>
        </p:nvSpPr>
        <p:spPr>
          <a:xfrm>
            <a:off x="2450117" y="4535639"/>
            <a:ext cx="72917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i="1">
                <a:solidFill>
                  <a:schemeClr val="bg2"/>
                </a:solidFill>
              </a:rPr>
              <a:t>*length is an estimate, journeys will likely be more focused around adoption stage TBD during week 1 </a:t>
            </a:r>
          </a:p>
          <a:p>
            <a:pPr algn="ctr"/>
            <a:r>
              <a:rPr lang="en-GB" sz="1100" i="1">
                <a:solidFill>
                  <a:schemeClr val="bg2"/>
                </a:solidFill>
              </a:rPr>
              <a:t>**See project plan for market and indication delivery details</a:t>
            </a:r>
          </a:p>
        </p:txBody>
      </p:sp>
    </p:spTree>
    <p:extLst>
      <p:ext uri="{BB962C8B-B14F-4D97-AF65-F5344CB8AC3E}">
        <p14:creationId xmlns:p14="http://schemas.microsoft.com/office/powerpoint/2010/main" val="100859223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232922"/>
            <a:ext cx="8743950" cy="1374476"/>
          </a:xfrm>
        </p:spPr>
        <p:txBody>
          <a:bodyPr/>
          <a:lstStyle/>
          <a:p>
            <a:r>
              <a:rPr lang="en-GB" sz="3200"/>
              <a:t>Your support throughout this process is essential to ensure the journeys we create together help </a:t>
            </a:r>
            <a:r>
              <a:rPr lang="en-GB" sz="3200">
                <a:solidFill>
                  <a:schemeClr val="accent3"/>
                </a:solidFill>
              </a:rPr>
              <a:t>drive your local campaign execution</a:t>
            </a:r>
          </a:p>
        </p:txBody>
      </p:sp>
      <p:pic>
        <p:nvPicPr>
          <p:cNvPr id="4" name="Graphic 3" descr="Open quotation mark with solid fill">
            <a:extLst>
              <a:ext uri="{FF2B5EF4-FFF2-40B4-BE49-F238E27FC236}">
                <a16:creationId xmlns:a16="http://schemas.microsoft.com/office/drawing/2014/main" id="{64F98A2F-AE49-447C-A49C-0C4798962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0600" y="1588098"/>
            <a:ext cx="914400" cy="914400"/>
          </a:xfrm>
          <a:prstGeom prst="rect">
            <a:avLst/>
          </a:prstGeom>
        </p:spPr>
      </p:pic>
      <p:pic>
        <p:nvPicPr>
          <p:cNvPr id="5" name="Graphic 4" descr="Open quotation mark with solid fill">
            <a:extLst>
              <a:ext uri="{FF2B5EF4-FFF2-40B4-BE49-F238E27FC236}">
                <a16:creationId xmlns:a16="http://schemas.microsoft.com/office/drawing/2014/main" id="{CC9D7DDD-BA48-4B45-9085-3886F45B2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6213986" y="356683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192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4E03B2-5B77-419B-BB0B-6FCCF82E97FD}"/>
              </a:ext>
            </a:extLst>
          </p:cNvPr>
          <p:cNvSpPr/>
          <p:nvPr/>
        </p:nvSpPr>
        <p:spPr bwMode="auto">
          <a:xfrm>
            <a:off x="0" y="2102375"/>
            <a:ext cx="12191999" cy="25718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49FD3-940B-47A0-A95C-C08F270EC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ow do we get there: The Princip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6BB8211-4ABA-4A4F-9FD0-17B62543E325}"/>
              </a:ext>
            </a:extLst>
          </p:cNvPr>
          <p:cNvSpPr/>
          <p:nvPr/>
        </p:nvSpPr>
        <p:spPr bwMode="auto">
          <a:xfrm>
            <a:off x="763307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impl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as simple as possible, and not overcomplica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nsure easy execution 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(e.g. applicable in your daily work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11F2A3-9946-433D-86DB-C4B0BEFCB9E6}"/>
              </a:ext>
            </a:extLst>
          </p:cNvPr>
          <p:cNvSpPr/>
          <p:nvPr/>
        </p:nvSpPr>
        <p:spPr bwMode="auto">
          <a:xfrm>
            <a:off x="4450215" y="2519960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Practi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The Journeys will be connect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existing and future content</a:t>
            </a: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, and aligned to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key events</a:t>
            </a:r>
            <a:endParaRPr kumimoji="0" lang="en-GB" sz="14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B4B1A6-80C8-4A4B-8CE2-35C3473C6AA6}"/>
              </a:ext>
            </a:extLst>
          </p:cNvPr>
          <p:cNvSpPr/>
          <p:nvPr/>
        </p:nvSpPr>
        <p:spPr bwMode="auto">
          <a:xfrm>
            <a:off x="8137123" y="2513305"/>
            <a:ext cx="2584938" cy="1714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Local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>
                <a:solidFill>
                  <a:schemeClr val="bg1"/>
                </a:solidFill>
                <a:latin typeface="Tahoma" pitchFamily="-107" charset="0"/>
              </a:rPr>
              <a:t>After creating an international version, we will work with you to localise the </a:t>
            </a:r>
            <a:r>
              <a:rPr lang="en-GB" sz="1400" b="1">
                <a:solidFill>
                  <a:schemeClr val="accent1"/>
                </a:solidFill>
                <a:latin typeface="Tahoma" pitchFamily="-107" charset="0"/>
              </a:rPr>
              <a:t>journeys to meet your market ne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64FC91-6A72-41A7-93BF-807501F8E184}"/>
              </a:ext>
            </a:extLst>
          </p:cNvPr>
          <p:cNvSpPr txBox="1"/>
          <p:nvPr/>
        </p:nvSpPr>
        <p:spPr>
          <a:xfrm>
            <a:off x="760679" y="828675"/>
            <a:ext cx="8982927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b="1">
                <a:solidFill>
                  <a:schemeClr val="bg2"/>
                </a:solidFill>
              </a:rPr>
              <a:t>We want to ensure these journeys are actionable for your market, so we have three core principles</a:t>
            </a:r>
            <a:endParaRPr lang="en-GB" b="1">
              <a:solidFill>
                <a:schemeClr val="bg2"/>
              </a:solidFill>
              <a:highlight>
                <a:srgbClr val="FFFF00"/>
              </a:highlight>
            </a:endParaRPr>
          </a:p>
        </p:txBody>
      </p:sp>
      <p:pic>
        <p:nvPicPr>
          <p:cNvPr id="11" name="Graphic 10" descr="Open book with solid fill">
            <a:extLst>
              <a:ext uri="{FF2B5EF4-FFF2-40B4-BE49-F238E27FC236}">
                <a16:creationId xmlns:a16="http://schemas.microsoft.com/office/drawing/2014/main" id="{42DD8D3C-3491-4EFE-B5B8-4678BA7BF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0739" y="23744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9403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1930B4E-309D-4A59-94DD-37775FE9B2C3}"/>
              </a:ext>
            </a:extLst>
          </p:cNvPr>
          <p:cNvSpPr txBox="1"/>
          <p:nvPr/>
        </p:nvSpPr>
        <p:spPr>
          <a:xfrm>
            <a:off x="762578" y="1751157"/>
            <a:ext cx="42005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Lad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BA0410-5795-45EC-893C-8C933CAC3795}"/>
              </a:ext>
            </a:extLst>
          </p:cNvPr>
          <p:cNvSpPr txBox="1"/>
          <p:nvPr/>
        </p:nvSpPr>
        <p:spPr>
          <a:xfrm>
            <a:off x="5623495" y="1701667"/>
            <a:ext cx="676498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F71DE9-3A68-4EA1-8221-5A0F172EBE5A}"/>
              </a:ext>
            </a:extLst>
          </p:cNvPr>
          <p:cNvSpPr txBox="1"/>
          <p:nvPr/>
        </p:nvSpPr>
        <p:spPr>
          <a:xfrm>
            <a:off x="267416" y="2397488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HCP-focused mapping of the level of product adop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5CFAFF-68AD-43DB-9B0B-B50E8CC84109}"/>
              </a:ext>
            </a:extLst>
          </p:cNvPr>
          <p:cNvSpPr txBox="1"/>
          <p:nvPr/>
        </p:nvSpPr>
        <p:spPr>
          <a:xfrm>
            <a:off x="6220542" y="2397487"/>
            <a:ext cx="55909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 execution-focused mapping of the touchpoints with a HCP.</a:t>
            </a:r>
          </a:p>
        </p:txBody>
      </p:sp>
      <p:pic>
        <p:nvPicPr>
          <p:cNvPr id="17" name="Picture 16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DB6095E-0CDC-4CC6-82DD-48FE40C955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406" y="3093307"/>
            <a:ext cx="4779928" cy="306305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23EFA9C-A5BB-4CC5-ACC6-2C65EFBEC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84" y="260649"/>
            <a:ext cx="10623061" cy="1374476"/>
          </a:xfrm>
        </p:spPr>
        <p:txBody>
          <a:bodyPr/>
          <a:lstStyle/>
          <a:p>
            <a:r>
              <a:rPr lang="en-GB"/>
              <a:t>How do we get there: The Proces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ADF713F-AE1B-46AC-81F7-573D2ADCE1D2}"/>
              </a:ext>
            </a:extLst>
          </p:cNvPr>
          <p:cNvSpPr/>
          <p:nvPr/>
        </p:nvSpPr>
        <p:spPr bwMode="auto">
          <a:xfrm>
            <a:off x="300113" y="1635125"/>
            <a:ext cx="527242" cy="565547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1</a:t>
            </a:r>
            <a:endParaRPr kumimoji="0" lang="en-GB" sz="20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49AE59-ACE3-45CA-AE83-88B71163BF82}"/>
              </a:ext>
            </a:extLst>
          </p:cNvPr>
          <p:cNvSpPr/>
          <p:nvPr/>
        </p:nvSpPr>
        <p:spPr bwMode="auto">
          <a:xfrm>
            <a:off x="6792406" y="1635124"/>
            <a:ext cx="527242" cy="565547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>
                <a:solidFill>
                  <a:schemeClr val="accent1"/>
                </a:solidFill>
                <a:latin typeface="Tahoma" pitchFamily="-107" charset="0"/>
              </a:rPr>
              <a:t>2</a:t>
            </a:r>
            <a:endParaRPr kumimoji="0" lang="en-GB" sz="20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Chevron 1">
            <a:extLst>
              <a:ext uri="{FF2B5EF4-FFF2-40B4-BE49-F238E27FC236}">
                <a16:creationId xmlns:a16="http://schemas.microsoft.com/office/drawing/2014/main" id="{CD0D2821-F7F0-AB45-AF89-F76AF9A44CAE}"/>
              </a:ext>
            </a:extLst>
          </p:cNvPr>
          <p:cNvSpPr/>
          <p:nvPr/>
        </p:nvSpPr>
        <p:spPr bwMode="auto">
          <a:xfrm>
            <a:off x="5515429" y="1751157"/>
            <a:ext cx="580571" cy="977529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F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E74EA9-94FC-495C-A12E-28C5995C54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410" y="3159851"/>
            <a:ext cx="5377304" cy="299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680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wipe dir="d"/>
      </p:transition>
    </mc:Choice>
    <mc:Fallback>
      <p:transition>
        <p:wipe dir="d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>
                <a:solidFill>
                  <a:srgbClr val="000000"/>
                </a:solidFill>
              </a:rPr>
              <a:t>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lacency/habi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: access challenge to ca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eatment inertia and need to overcome mindset shif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Reflects on early JYSELECA experience &amp; positive efficacy outcomes compared with other JAK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Attends a peer-to peer discussion with local colleagues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Attends a discussion with local expert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Prescribes JYSELECA as their ‘go to’ JA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is the main concer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&amp; simplicity are impor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Shares positive experiences with colleagu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Gains depth of experience in patients where safety is a concer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>
                <a:solidFill>
                  <a:srgbClr val="000000"/>
                </a:solidFill>
                <a:latin typeface="Tahoma" pitchFamily="-107" charset="0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Advocates JYSELECA as JAK of cho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Expands the use of JYSELECA to different types of patients so ultimately JYSELECA becomes JAK of choic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Starts to use JYSELECA as first line JAK inhibito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38DA2F1-F038-4ACA-9D9F-78930637013E}"/>
              </a:ext>
            </a:extLst>
          </p:cNvPr>
          <p:cNvSpPr/>
          <p:nvPr/>
        </p:nvSpPr>
        <p:spPr bwMode="auto">
          <a:xfrm>
            <a:off x="1102744" y="323932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8946BA-BFB6-4216-BF5F-2BF55FDE300F}"/>
              </a:ext>
            </a:extLst>
          </p:cNvPr>
          <p:cNvSpPr/>
          <p:nvPr/>
        </p:nvSpPr>
        <p:spPr bwMode="auto">
          <a:xfrm>
            <a:off x="1102744" y="369086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69D242C-13E7-45D6-B668-9C73312B4327}"/>
              </a:ext>
            </a:extLst>
          </p:cNvPr>
          <p:cNvSpPr/>
          <p:nvPr/>
        </p:nvSpPr>
        <p:spPr bwMode="auto">
          <a:xfrm>
            <a:off x="1102744" y="2828147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3CCC23-DAA1-4773-9D22-82DE5B280D2A}"/>
              </a:ext>
            </a:extLst>
          </p:cNvPr>
          <p:cNvSpPr/>
          <p:nvPr/>
        </p:nvSpPr>
        <p:spPr bwMode="auto">
          <a:xfrm>
            <a:off x="10031988" y="3107592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B979413-D175-4221-8AC5-17AF72C3CE51}"/>
              </a:ext>
            </a:extLst>
          </p:cNvPr>
          <p:cNvSpPr/>
          <p:nvPr/>
        </p:nvSpPr>
        <p:spPr bwMode="auto">
          <a:xfrm>
            <a:off x="3399532" y="272591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21A083D-A507-492E-8D58-42C0FF1AE629}"/>
              </a:ext>
            </a:extLst>
          </p:cNvPr>
          <p:cNvSpPr/>
          <p:nvPr/>
        </p:nvSpPr>
        <p:spPr bwMode="auto">
          <a:xfrm>
            <a:off x="3399532" y="3138703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2CE52C4-1ACD-4BB3-9B52-C77B9F58DAF4}"/>
              </a:ext>
            </a:extLst>
          </p:cNvPr>
          <p:cNvSpPr/>
          <p:nvPr/>
        </p:nvSpPr>
        <p:spPr bwMode="auto">
          <a:xfrm>
            <a:off x="3389979" y="361122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07BD3E0-A29B-4A0B-B188-D6FF779D45C8}"/>
              </a:ext>
            </a:extLst>
          </p:cNvPr>
          <p:cNvSpPr/>
          <p:nvPr/>
        </p:nvSpPr>
        <p:spPr bwMode="auto">
          <a:xfrm>
            <a:off x="5618326" y="285372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CB86443-8C37-4DC0-AD22-6217F79ADDBB}"/>
              </a:ext>
            </a:extLst>
          </p:cNvPr>
          <p:cNvSpPr/>
          <p:nvPr/>
        </p:nvSpPr>
        <p:spPr bwMode="auto">
          <a:xfrm>
            <a:off x="5618326" y="330368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9DE8271-28C2-4CB3-9D1D-959C0BF508E7}"/>
              </a:ext>
            </a:extLst>
          </p:cNvPr>
          <p:cNvSpPr/>
          <p:nvPr/>
        </p:nvSpPr>
        <p:spPr bwMode="auto">
          <a:xfrm>
            <a:off x="5618326" y="260017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54953AD-19DA-4039-B654-5C3D0F55E1E7}"/>
              </a:ext>
            </a:extLst>
          </p:cNvPr>
          <p:cNvSpPr/>
          <p:nvPr/>
        </p:nvSpPr>
        <p:spPr bwMode="auto">
          <a:xfrm>
            <a:off x="10031988" y="273280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ADF94B4-A07E-436F-ADA8-182D81F14757}"/>
              </a:ext>
            </a:extLst>
          </p:cNvPr>
          <p:cNvSpPr/>
          <p:nvPr/>
        </p:nvSpPr>
        <p:spPr bwMode="auto">
          <a:xfrm>
            <a:off x="10031988" y="342530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37587C-A541-462A-BE76-ABECC923A42F}"/>
              </a:ext>
            </a:extLst>
          </p:cNvPr>
          <p:cNvSpPr/>
          <p:nvPr/>
        </p:nvSpPr>
        <p:spPr bwMode="auto">
          <a:xfrm>
            <a:off x="7784982" y="314351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7DA6051-6FAD-4E50-9798-2E9E7C88E0A7}"/>
              </a:ext>
            </a:extLst>
          </p:cNvPr>
          <p:cNvSpPr/>
          <p:nvPr/>
        </p:nvSpPr>
        <p:spPr bwMode="auto">
          <a:xfrm>
            <a:off x="7784982" y="276873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856FF6D-CABE-4AAA-8B3F-87D8BB0DF791}"/>
              </a:ext>
            </a:extLst>
          </p:cNvPr>
          <p:cNvSpPr/>
          <p:nvPr/>
        </p:nvSpPr>
        <p:spPr bwMode="auto">
          <a:xfrm>
            <a:off x="7784982" y="3461236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93D7674-491B-45AC-98A6-F0DDC8B66C0E}"/>
              </a:ext>
            </a:extLst>
          </p:cNvPr>
          <p:cNvSpPr/>
          <p:nvPr/>
        </p:nvSpPr>
        <p:spPr bwMode="auto">
          <a:xfrm>
            <a:off x="11555705" y="162164"/>
            <a:ext cx="527242" cy="5655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Tahoma" pitchFamily="-107" charset="0"/>
              </a:rPr>
              <a:t>1</a:t>
            </a:r>
            <a:endParaRPr kumimoji="0" lang="en-GB" sz="2000" b="1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160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d0e857-dec6-4b1e-afd3-48dbfac7dd48">
      <UserInfo>
        <DisplayName>Caroline Pettenuzzo</DisplayName>
        <AccountId>675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1CD50B-0D5A-429A-8414-CA4A616FC2A7}">
  <ds:schemaRefs>
    <ds:schemaRef ds:uri="0d8c423f-ad67-45a2-8b05-97a43a5b7821"/>
    <ds:schemaRef ds:uri="ead0e857-dec6-4b1e-afd3-48dbfac7dd4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8A7CDC-B255-4525-899E-81D81A9E8D63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3A5CA64-A1FC-4D48-A1F6-2E248C1D43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9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Galapagos_template_Basic</vt:lpstr>
      <vt:lpstr>Building country specific Omnichannel HCP Journeys to support launch</vt:lpstr>
      <vt:lpstr>HCP Journeys Project</vt:lpstr>
      <vt:lpstr>Journey Mapping enables the visualisation of a target HCP experience</vt:lpstr>
      <vt:lpstr>The international team would like to support you in developing omnichannel customer journeys for your market</vt:lpstr>
      <vt:lpstr>What will you get at the end?</vt:lpstr>
      <vt:lpstr>Your support throughout this process is essential to ensure the journeys we create together help drive your local campaign execution</vt:lpstr>
      <vt:lpstr>How do we get there: The Principles</vt:lpstr>
      <vt:lpstr>How do we get there: The Process</vt:lpstr>
      <vt:lpstr>PowerPoint Presentation</vt:lpstr>
      <vt:lpstr>PowerPoint Presentation</vt:lpstr>
      <vt:lpstr>Brand Content Asset catalogue sorted by HCP segment will be provided to you</vt:lpstr>
      <vt:lpstr>We will use Custellence® to build the journeys</vt:lpstr>
      <vt:lpstr>How do we get there: The HCP Journey Map</vt:lpstr>
      <vt:lpstr>The project plan detail</vt:lpstr>
      <vt:lpstr>Engagement with a FR/UK/DE/ES/IT </vt:lpstr>
      <vt:lpstr>Engagement with a NL/BNL </vt:lpstr>
      <vt:lpstr>Appendix</vt:lpstr>
      <vt:lpstr>Project Phases</vt:lpstr>
      <vt:lpstr>An experienced Veeva team will helps us achieve our goals and will be supporting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</cp:revision>
  <dcterms:created xsi:type="dcterms:W3CDTF">2021-04-08T08:52:31Z</dcterms:created>
  <dcterms:modified xsi:type="dcterms:W3CDTF">2021-04-08T14:2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